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4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5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6.xml" ContentType="application/vnd.openxmlformats-officedocument.theme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7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8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9.xml" ContentType="application/vnd.openxmlformats-officedocument.theme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10.xml" ContentType="application/vnd.openxmlformats-officedocument.theme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11.xml" ContentType="application/vnd.openxmlformats-officedocument.theme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theme/theme12.xml" ContentType="application/vnd.openxmlformats-officedocument.theme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theme/theme13.xml" ContentType="application/vnd.openxmlformats-officedocument.theme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theme/theme14.xml" ContentType="application/vnd.openxmlformats-officedocument.theme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theme/theme15.xml" ContentType="application/vnd.openxmlformats-officedocument.theme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theme/theme16.xml" ContentType="application/vnd.openxmlformats-officedocument.theme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theme/theme17.xml" ContentType="application/vnd.openxmlformats-officedocument.theme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theme/theme18.xml" ContentType="application/vnd.openxmlformats-officedocument.theme+xml"/>
  <Override PartName="/ppt/theme/theme1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9" r:id="rId5"/>
    <p:sldMasterId id="2147483695" r:id="rId6"/>
    <p:sldMasterId id="2147483714" r:id="rId7"/>
    <p:sldMasterId id="2147483725" r:id="rId8"/>
    <p:sldMasterId id="2147483759" r:id="rId9"/>
    <p:sldMasterId id="2147483794" r:id="rId10"/>
    <p:sldMasterId id="2147483822" r:id="rId11"/>
    <p:sldMasterId id="2147483844" r:id="rId12"/>
    <p:sldMasterId id="2147483873" r:id="rId13"/>
    <p:sldMasterId id="2147483885" r:id="rId14"/>
    <p:sldMasterId id="2147483897" r:id="rId15"/>
    <p:sldMasterId id="2147483916" r:id="rId16"/>
    <p:sldMasterId id="2147483936" r:id="rId17"/>
    <p:sldMasterId id="2147483961" r:id="rId18"/>
    <p:sldMasterId id="2147483992" r:id="rId19"/>
    <p:sldMasterId id="2147484022" r:id="rId20"/>
    <p:sldMasterId id="2147484041" r:id="rId21"/>
  </p:sldMasterIdLst>
  <p:notesMasterIdLst>
    <p:notesMasterId r:id="rId52"/>
  </p:notesMasterIdLst>
  <p:sldIdLst>
    <p:sldId id="1486" r:id="rId22"/>
    <p:sldId id="1374" r:id="rId23"/>
    <p:sldId id="259" r:id="rId24"/>
    <p:sldId id="4353" r:id="rId25"/>
    <p:sldId id="1885" r:id="rId26"/>
    <p:sldId id="4351" r:id="rId27"/>
    <p:sldId id="4342" r:id="rId28"/>
    <p:sldId id="1652" r:id="rId29"/>
    <p:sldId id="4350" r:id="rId30"/>
    <p:sldId id="1873" r:id="rId31"/>
    <p:sldId id="274" r:id="rId32"/>
    <p:sldId id="4352" r:id="rId33"/>
    <p:sldId id="1877" r:id="rId34"/>
    <p:sldId id="272" r:id="rId35"/>
    <p:sldId id="1653" r:id="rId36"/>
    <p:sldId id="1890" r:id="rId37"/>
    <p:sldId id="310" r:id="rId38"/>
    <p:sldId id="311" r:id="rId39"/>
    <p:sldId id="4344" r:id="rId40"/>
    <p:sldId id="303" r:id="rId41"/>
    <p:sldId id="305" r:id="rId42"/>
    <p:sldId id="4346" r:id="rId43"/>
    <p:sldId id="4368" r:id="rId44"/>
    <p:sldId id="1881" r:id="rId45"/>
    <p:sldId id="300" r:id="rId46"/>
    <p:sldId id="1514" r:id="rId47"/>
    <p:sldId id="1509" r:id="rId48"/>
    <p:sldId id="4366" r:id="rId49"/>
    <p:sldId id="1760" r:id="rId50"/>
    <p:sldId id="1392" r:id="rId5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D7"/>
    <a:srgbClr val="0086AC"/>
    <a:srgbClr val="E2F2FF"/>
    <a:srgbClr val="E7EC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25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5.xml"/><Relationship Id="rId39" Type="http://schemas.openxmlformats.org/officeDocument/2006/relationships/slide" Target="slides/slide18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13.xml"/><Relationship Id="rId42" Type="http://schemas.openxmlformats.org/officeDocument/2006/relationships/slide" Target="slides/slide21.xml"/><Relationship Id="rId47" Type="http://schemas.openxmlformats.org/officeDocument/2006/relationships/slide" Target="slides/slide26.xml"/><Relationship Id="rId50" Type="http://schemas.openxmlformats.org/officeDocument/2006/relationships/slide" Target="slides/slide29.xml"/><Relationship Id="rId55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" Target="slides/slide8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3.xml"/><Relationship Id="rId32" Type="http://schemas.openxmlformats.org/officeDocument/2006/relationships/slide" Target="slides/slide11.xml"/><Relationship Id="rId37" Type="http://schemas.openxmlformats.org/officeDocument/2006/relationships/slide" Target="slides/slide16.xml"/><Relationship Id="rId40" Type="http://schemas.openxmlformats.org/officeDocument/2006/relationships/slide" Target="slides/slide19.xml"/><Relationship Id="rId45" Type="http://schemas.openxmlformats.org/officeDocument/2006/relationships/slide" Target="slides/slide24.xml"/><Relationship Id="rId53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10.xml"/><Relationship Id="rId44" Type="http://schemas.openxmlformats.org/officeDocument/2006/relationships/slide" Target="slides/slide23.xml"/><Relationship Id="rId52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30" Type="http://schemas.openxmlformats.org/officeDocument/2006/relationships/slide" Target="slides/slide9.xml"/><Relationship Id="rId35" Type="http://schemas.openxmlformats.org/officeDocument/2006/relationships/slide" Target="slides/slide14.xml"/><Relationship Id="rId43" Type="http://schemas.openxmlformats.org/officeDocument/2006/relationships/slide" Target="slides/slide22.xml"/><Relationship Id="rId48" Type="http://schemas.openxmlformats.org/officeDocument/2006/relationships/slide" Target="slides/slide27.xml"/><Relationship Id="rId56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0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4.xml"/><Relationship Id="rId33" Type="http://schemas.openxmlformats.org/officeDocument/2006/relationships/slide" Target="slides/slide12.xml"/><Relationship Id="rId38" Type="http://schemas.openxmlformats.org/officeDocument/2006/relationships/slide" Target="slides/slide17.xml"/><Relationship Id="rId46" Type="http://schemas.openxmlformats.org/officeDocument/2006/relationships/slide" Target="slides/slide25.xml"/><Relationship Id="rId20" Type="http://schemas.openxmlformats.org/officeDocument/2006/relationships/slideMaster" Target="slideMasters/slideMaster17.xml"/><Relationship Id="rId41" Type="http://schemas.openxmlformats.org/officeDocument/2006/relationships/slide" Target="slides/slide20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2.xml"/><Relationship Id="rId28" Type="http://schemas.openxmlformats.org/officeDocument/2006/relationships/slide" Target="slides/slide7.xml"/><Relationship Id="rId36" Type="http://schemas.openxmlformats.org/officeDocument/2006/relationships/slide" Target="slides/slide15.xml"/><Relationship Id="rId49" Type="http://schemas.openxmlformats.org/officeDocument/2006/relationships/slide" Target="slides/slide2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A1EE25-B261-40F1-81DC-C22CA2FC3D9C}" type="datetimeFigureOut">
              <a:rPr lang="en-US" smtClean="0"/>
              <a:t>9/25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B4578D-97F1-4707-8C41-133C28C5E7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69632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kern="120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9/25/2019 9:03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9115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E169B2-F375-494B-85A6-25064D2909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1084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1CD80A-2C6F-4E39-942E-4436C667F5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38912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B4578D-97F1-4707-8C41-133C28C5E7F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6310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5/2019 9:03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220646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5/2019 9:03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312006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5/2019 9:03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150968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Build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5/2019 9:03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70262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E169B2-F375-494B-85A6-25064D2909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20074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E169B2-F375-494B-85A6-25064D2909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58305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5/2019 9:03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77003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A69BD2-67F6-43A1-A2DB-9D24960C083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100420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96E846-FBBA-46E2-AEC6-4A01A340372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501480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E169B2-F375-494B-85A6-25064D2909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827719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5/2019 9:03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223531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kern="120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9/25/2019 9:03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954261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5/2019 9:03 P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462891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8A17D118-1690-458F-B4D2-F9DA5D6F5033}" type="datetime8">
              <a:rPr lang="en-US" smtClean="0">
                <a:solidFill>
                  <a:prstClr val="black"/>
                </a:solidFill>
              </a:rPr>
              <a:pPr/>
              <a:t>9/25/2019 9:03 PM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C87E0CF-87F6-4B58-B8B8-DCAB2DAAF3CA}" type="slidenum">
              <a:rPr lang="en-US" smtClean="0">
                <a:solidFill>
                  <a:prstClr val="black"/>
                </a:solidFill>
              </a:rPr>
              <a:pPr/>
              <a:t>30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1667868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A69BD2-67F6-43A1-A2DB-9D24960C083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49109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5/2019 9:03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37491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5/2019 9:03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086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B4578D-97F1-4707-8C41-133C28C5E7F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4306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SI = Managed Service Identity</a:t>
            </a:r>
          </a:p>
          <a:p>
            <a:r>
              <a:rPr lang="en-US" dirty="0"/>
              <a:t>AKV = Azure Key Vaul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B4578D-97F1-4707-8C41-133C28C5E7F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11628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5/2019 9:03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52086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E169B2-F375-494B-85A6-25064D2909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79545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9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9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9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9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6.png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6.png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2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3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3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4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4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5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Master" Target="../slideMasters/slideMaster15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5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5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5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41.jpg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41.jpg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5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5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44.png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image" Target="../media/image45.jp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47.png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16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16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16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6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png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7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7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7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8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Editab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cxnSp>
        <p:nvCxnSpPr>
          <p:cNvPr id="10" name="Straight Connector 9"/>
          <p:cNvCxnSpPr>
            <a:cxnSpLocks/>
          </p:cNvCxnSpPr>
          <p:nvPr userDrawn="1"/>
        </p:nvCxnSpPr>
        <p:spPr>
          <a:xfrm>
            <a:off x="9587401" y="6115482"/>
            <a:ext cx="0" cy="358617"/>
          </a:xfrm>
          <a:prstGeom prst="line">
            <a:avLst/>
          </a:prstGeom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CD16D0-030B-4E01-8C7E-8FA7B612BB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28510" y="1834504"/>
            <a:ext cx="6274974" cy="1022069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202095" y="259969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EA71668-2A88-4115-853E-BEC05FB59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28510" y="259969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202095" y="337802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6AE5335-01B3-4932-AE7C-C7409C947F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28510" y="337802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20953080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8858248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439546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891601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89767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684363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388337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5429104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0203964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617073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3474131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28649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397689522"/>
      </p:ext>
    </p:extLst>
  </p:cSld>
  <p:clrMapOvr>
    <a:masterClrMapping/>
  </p:clrMapOvr>
  <p:transition spd="med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408888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3229295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nfidentiality slide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1020772" y="2291365"/>
            <a:ext cx="10249783" cy="1009695"/>
            <a:chOff x="1041241" y="2198265"/>
            <a:chExt cx="10455312" cy="1029795"/>
          </a:xfrm>
        </p:grpSpPr>
        <p:sp>
          <p:nvSpPr>
            <p:cNvPr id="3" name="laptop"/>
            <p:cNvSpPr>
              <a:spLocks noChangeAspect="1" noEditPoints="1"/>
            </p:cNvSpPr>
            <p:nvPr userDrawn="1"/>
          </p:nvSpPr>
          <p:spPr bwMode="auto">
            <a:xfrm>
              <a:off x="9891754" y="2198265"/>
              <a:ext cx="1417556" cy="843914"/>
            </a:xfrm>
            <a:custGeom>
              <a:avLst/>
              <a:gdLst>
                <a:gd name="T0" fmla="*/ 212 w 257"/>
                <a:gd name="T1" fmla="*/ 107 h 153"/>
                <a:gd name="T2" fmla="*/ 43 w 257"/>
                <a:gd name="T3" fmla="*/ 107 h 153"/>
                <a:gd name="T4" fmla="*/ 43 w 257"/>
                <a:gd name="T5" fmla="*/ 0 h 153"/>
                <a:gd name="T6" fmla="*/ 212 w 257"/>
                <a:gd name="T7" fmla="*/ 0 h 153"/>
                <a:gd name="T8" fmla="*/ 212 w 257"/>
                <a:gd name="T9" fmla="*/ 107 h 153"/>
                <a:gd name="T10" fmla="*/ 43 w 257"/>
                <a:gd name="T11" fmla="*/ 107 h 153"/>
                <a:gd name="T12" fmla="*/ 0 w 257"/>
                <a:gd name="T13" fmla="*/ 153 h 153"/>
                <a:gd name="T14" fmla="*/ 257 w 257"/>
                <a:gd name="T15" fmla="*/ 153 h 153"/>
                <a:gd name="T16" fmla="*/ 212 w 257"/>
                <a:gd name="T17" fmla="*/ 10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7" h="153">
                  <a:moveTo>
                    <a:pt x="212" y="107"/>
                  </a:moveTo>
                  <a:lnTo>
                    <a:pt x="43" y="107"/>
                  </a:lnTo>
                  <a:lnTo>
                    <a:pt x="43" y="0"/>
                  </a:lnTo>
                  <a:lnTo>
                    <a:pt x="212" y="0"/>
                  </a:lnTo>
                  <a:lnTo>
                    <a:pt x="212" y="107"/>
                  </a:lnTo>
                  <a:moveTo>
                    <a:pt x="43" y="107"/>
                  </a:moveTo>
                  <a:lnTo>
                    <a:pt x="0" y="153"/>
                  </a:lnTo>
                  <a:lnTo>
                    <a:pt x="257" y="153"/>
                  </a:lnTo>
                  <a:lnTo>
                    <a:pt x="212" y="107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" name="phone"/>
            <p:cNvSpPr>
              <a:spLocks noChangeAspect="1" noEditPoints="1"/>
            </p:cNvSpPr>
            <p:nvPr userDrawn="1"/>
          </p:nvSpPr>
          <p:spPr bwMode="auto">
            <a:xfrm>
              <a:off x="4177456" y="2253648"/>
              <a:ext cx="473065" cy="757539"/>
            </a:xfrm>
            <a:custGeom>
              <a:avLst/>
              <a:gdLst>
                <a:gd name="T0" fmla="*/ 148 w 148"/>
                <a:gd name="T1" fmla="*/ 112 h 237"/>
                <a:gd name="T2" fmla="*/ 148 w 148"/>
                <a:gd name="T3" fmla="*/ 237 h 237"/>
                <a:gd name="T4" fmla="*/ 0 w 148"/>
                <a:gd name="T5" fmla="*/ 237 h 237"/>
                <a:gd name="T6" fmla="*/ 0 w 148"/>
                <a:gd name="T7" fmla="*/ 0 h 237"/>
                <a:gd name="T8" fmla="*/ 148 w 148"/>
                <a:gd name="T9" fmla="*/ 0 h 237"/>
                <a:gd name="T10" fmla="*/ 148 w 148"/>
                <a:gd name="T11" fmla="*/ 112 h 237"/>
                <a:gd name="T12" fmla="*/ 0 w 148"/>
                <a:gd name="T13" fmla="*/ 29 h 237"/>
                <a:gd name="T14" fmla="*/ 148 w 148"/>
                <a:gd name="T15" fmla="*/ 29 h 237"/>
                <a:gd name="T16" fmla="*/ 0 w 148"/>
                <a:gd name="T17" fmla="*/ 172 h 237"/>
                <a:gd name="T18" fmla="*/ 148 w 148"/>
                <a:gd name="T19" fmla="*/ 172 h 237"/>
                <a:gd name="T20" fmla="*/ 66 w 148"/>
                <a:gd name="T21" fmla="*/ 204 h 237"/>
                <a:gd name="T22" fmla="*/ 82 w 148"/>
                <a:gd name="T23" fmla="*/ 204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8" h="237">
                  <a:moveTo>
                    <a:pt x="148" y="112"/>
                  </a:moveTo>
                  <a:lnTo>
                    <a:pt x="148" y="237"/>
                  </a:lnTo>
                  <a:lnTo>
                    <a:pt x="0" y="237"/>
                  </a:lnTo>
                  <a:lnTo>
                    <a:pt x="0" y="0"/>
                  </a:lnTo>
                  <a:lnTo>
                    <a:pt x="148" y="0"/>
                  </a:lnTo>
                  <a:lnTo>
                    <a:pt x="148" y="112"/>
                  </a:lnTo>
                  <a:moveTo>
                    <a:pt x="0" y="29"/>
                  </a:moveTo>
                  <a:lnTo>
                    <a:pt x="148" y="29"/>
                  </a:lnTo>
                  <a:moveTo>
                    <a:pt x="0" y="172"/>
                  </a:moveTo>
                  <a:lnTo>
                    <a:pt x="148" y="172"/>
                  </a:lnTo>
                  <a:moveTo>
                    <a:pt x="66" y="204"/>
                  </a:moveTo>
                  <a:lnTo>
                    <a:pt x="82" y="204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tablet_2"/>
            <p:cNvSpPr>
              <a:spLocks noChangeAspect="1" noEditPoints="1"/>
            </p:cNvSpPr>
            <p:nvPr userDrawn="1"/>
          </p:nvSpPr>
          <p:spPr bwMode="auto">
            <a:xfrm>
              <a:off x="6815622" y="2222769"/>
              <a:ext cx="1118473" cy="819293"/>
            </a:xfrm>
            <a:custGeom>
              <a:avLst/>
              <a:gdLst>
                <a:gd name="T0" fmla="*/ 243 w 243"/>
                <a:gd name="T1" fmla="*/ 83 h 178"/>
                <a:gd name="T2" fmla="*/ 243 w 243"/>
                <a:gd name="T3" fmla="*/ 178 h 178"/>
                <a:gd name="T4" fmla="*/ 0 w 243"/>
                <a:gd name="T5" fmla="*/ 178 h 178"/>
                <a:gd name="T6" fmla="*/ 0 w 243"/>
                <a:gd name="T7" fmla="*/ 0 h 178"/>
                <a:gd name="T8" fmla="*/ 243 w 243"/>
                <a:gd name="T9" fmla="*/ 0 h 178"/>
                <a:gd name="T10" fmla="*/ 243 w 243"/>
                <a:gd name="T11" fmla="*/ 83 h 178"/>
                <a:gd name="T12" fmla="*/ 113 w 243"/>
                <a:gd name="T13" fmla="*/ 147 h 178"/>
                <a:gd name="T14" fmla="*/ 129 w 243"/>
                <a:gd name="T15" fmla="*/ 147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3" h="178">
                  <a:moveTo>
                    <a:pt x="243" y="83"/>
                  </a:moveTo>
                  <a:lnTo>
                    <a:pt x="243" y="178"/>
                  </a:lnTo>
                  <a:lnTo>
                    <a:pt x="0" y="178"/>
                  </a:lnTo>
                  <a:lnTo>
                    <a:pt x="0" y="0"/>
                  </a:lnTo>
                  <a:lnTo>
                    <a:pt x="243" y="0"/>
                  </a:lnTo>
                  <a:lnTo>
                    <a:pt x="243" y="83"/>
                  </a:lnTo>
                  <a:moveTo>
                    <a:pt x="113" y="147"/>
                  </a:moveTo>
                  <a:lnTo>
                    <a:pt x="129" y="147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camera"/>
            <p:cNvSpPr>
              <a:spLocks noChangeAspect="1" noEditPoints="1"/>
            </p:cNvSpPr>
            <p:nvPr userDrawn="1"/>
          </p:nvSpPr>
          <p:spPr bwMode="auto">
            <a:xfrm>
              <a:off x="1041241" y="2295852"/>
              <a:ext cx="842296" cy="673131"/>
            </a:xfrm>
            <a:custGeom>
              <a:avLst/>
              <a:gdLst>
                <a:gd name="T0" fmla="*/ 0 w 330"/>
                <a:gd name="T1" fmla="*/ 24 h 264"/>
                <a:gd name="T2" fmla="*/ 87 w 330"/>
                <a:gd name="T3" fmla="*/ 24 h 264"/>
                <a:gd name="T4" fmla="*/ 111 w 330"/>
                <a:gd name="T5" fmla="*/ 0 h 264"/>
                <a:gd name="T6" fmla="*/ 217 w 330"/>
                <a:gd name="T7" fmla="*/ 0 h 264"/>
                <a:gd name="T8" fmla="*/ 242 w 330"/>
                <a:gd name="T9" fmla="*/ 24 h 264"/>
                <a:gd name="T10" fmla="*/ 330 w 330"/>
                <a:gd name="T11" fmla="*/ 24 h 264"/>
                <a:gd name="T12" fmla="*/ 330 w 330"/>
                <a:gd name="T13" fmla="*/ 264 h 264"/>
                <a:gd name="T14" fmla="*/ 0 w 330"/>
                <a:gd name="T15" fmla="*/ 264 h 264"/>
                <a:gd name="T16" fmla="*/ 0 w 330"/>
                <a:gd name="T17" fmla="*/ 24 h 264"/>
                <a:gd name="T18" fmla="*/ 165 w 330"/>
                <a:gd name="T19" fmla="*/ 221 h 264"/>
                <a:gd name="T20" fmla="*/ 242 w 330"/>
                <a:gd name="T21" fmla="*/ 144 h 264"/>
                <a:gd name="T22" fmla="*/ 165 w 330"/>
                <a:gd name="T23" fmla="*/ 67 h 264"/>
                <a:gd name="T24" fmla="*/ 88 w 330"/>
                <a:gd name="T25" fmla="*/ 144 h 264"/>
                <a:gd name="T26" fmla="*/ 165 w 330"/>
                <a:gd name="T27" fmla="*/ 221 h 264"/>
                <a:gd name="T28" fmla="*/ 42 w 330"/>
                <a:gd name="T29" fmla="*/ 73 h 264"/>
                <a:gd name="T30" fmla="*/ 48 w 330"/>
                <a:gd name="T31" fmla="*/ 67 h 264"/>
                <a:gd name="T32" fmla="*/ 42 w 330"/>
                <a:gd name="T33" fmla="*/ 61 h 264"/>
                <a:gd name="T34" fmla="*/ 36 w 330"/>
                <a:gd name="T35" fmla="*/ 67 h 264"/>
                <a:gd name="T36" fmla="*/ 42 w 330"/>
                <a:gd name="T37" fmla="*/ 73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30" h="264">
                  <a:moveTo>
                    <a:pt x="0" y="24"/>
                  </a:moveTo>
                  <a:cubicBezTo>
                    <a:pt x="87" y="24"/>
                    <a:pt x="87" y="24"/>
                    <a:pt x="87" y="24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42" y="24"/>
                    <a:pt x="242" y="24"/>
                    <a:pt x="242" y="24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64"/>
                    <a:pt x="330" y="264"/>
                    <a:pt x="330" y="264"/>
                  </a:cubicBezTo>
                  <a:cubicBezTo>
                    <a:pt x="0" y="264"/>
                    <a:pt x="0" y="264"/>
                    <a:pt x="0" y="264"/>
                  </a:cubicBezTo>
                  <a:lnTo>
                    <a:pt x="0" y="24"/>
                  </a:lnTo>
                  <a:close/>
                  <a:moveTo>
                    <a:pt x="165" y="221"/>
                  </a:moveTo>
                  <a:cubicBezTo>
                    <a:pt x="208" y="221"/>
                    <a:pt x="242" y="187"/>
                    <a:pt x="242" y="144"/>
                  </a:cubicBezTo>
                  <a:cubicBezTo>
                    <a:pt x="242" y="101"/>
                    <a:pt x="208" y="67"/>
                    <a:pt x="165" y="67"/>
                  </a:cubicBezTo>
                  <a:cubicBezTo>
                    <a:pt x="123" y="67"/>
                    <a:pt x="88" y="101"/>
                    <a:pt x="88" y="144"/>
                  </a:cubicBezTo>
                  <a:cubicBezTo>
                    <a:pt x="88" y="187"/>
                    <a:pt x="123" y="221"/>
                    <a:pt x="165" y="221"/>
                  </a:cubicBezTo>
                  <a:close/>
                  <a:moveTo>
                    <a:pt x="42" y="73"/>
                  </a:moveTo>
                  <a:cubicBezTo>
                    <a:pt x="45" y="73"/>
                    <a:pt x="48" y="70"/>
                    <a:pt x="48" y="67"/>
                  </a:cubicBezTo>
                  <a:cubicBezTo>
                    <a:pt x="48" y="64"/>
                    <a:pt x="45" y="61"/>
                    <a:pt x="42" y="61"/>
                  </a:cubicBezTo>
                  <a:cubicBezTo>
                    <a:pt x="38" y="61"/>
                    <a:pt x="36" y="64"/>
                    <a:pt x="36" y="67"/>
                  </a:cubicBezTo>
                  <a:cubicBezTo>
                    <a:pt x="36" y="70"/>
                    <a:pt x="38" y="73"/>
                    <a:pt x="42" y="73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Multiplication Sign 8"/>
            <p:cNvSpPr/>
            <p:nvPr userDrawn="1"/>
          </p:nvSpPr>
          <p:spPr bwMode="auto">
            <a:xfrm>
              <a:off x="1654939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Multiplication Sign 9"/>
            <p:cNvSpPr/>
            <p:nvPr userDrawn="1"/>
          </p:nvSpPr>
          <p:spPr bwMode="auto">
            <a:xfrm>
              <a:off x="4406053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" name="Multiplication Sign 10"/>
            <p:cNvSpPr/>
            <p:nvPr userDrawn="1"/>
          </p:nvSpPr>
          <p:spPr bwMode="auto">
            <a:xfrm>
              <a:off x="7703328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" name="Multiplication Sign 12"/>
            <p:cNvSpPr/>
            <p:nvPr userDrawn="1"/>
          </p:nvSpPr>
          <p:spPr bwMode="auto">
            <a:xfrm>
              <a:off x="11039358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5" name="TextBox 14"/>
          <p:cNvSpPr txBox="1"/>
          <p:nvPr userDrawn="1"/>
        </p:nvSpPr>
        <p:spPr>
          <a:xfrm>
            <a:off x="629379" y="4403248"/>
            <a:ext cx="10933243" cy="2163685"/>
          </a:xfrm>
          <a:prstGeom prst="rect">
            <a:avLst/>
          </a:prstGeom>
          <a:noFill/>
        </p:spPr>
        <p:txBody>
          <a:bodyPr wrap="none" lIns="179285" tIns="143428" rIns="179285" bIns="143428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icrosoft Ready content is </a:t>
            </a:r>
            <a:r>
              <a:rPr lang="en-US" sz="2157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icrosoft Confidential – Internal only</a:t>
            </a:r>
          </a:p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157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st Microsoft Ready content to any blogs or external websites</a:t>
            </a:r>
          </a:p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157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ake photos or video of sessions or slides throughout the Microsoft Ready event</a:t>
            </a:r>
          </a:p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tent will be available to internal audiences on-demand post-event</a:t>
            </a:r>
          </a:p>
        </p:txBody>
      </p:sp>
    </p:spTree>
    <p:extLst>
      <p:ext uri="{BB962C8B-B14F-4D97-AF65-F5344CB8AC3E}">
        <p14:creationId xmlns:p14="http://schemas.microsoft.com/office/powerpoint/2010/main" val="1833391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0035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6407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4061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bg>
      <p:bgPr>
        <a:solidFill>
          <a:srgbClr val="D2D2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205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/>
          <p:cNvSpPr>
            <a:spLocks noGrp="1" noChangeAspect="1"/>
          </p:cNvSpPr>
          <p:nvPr>
            <p:ph type="title"/>
          </p:nvPr>
        </p:nvSpPr>
        <p:spPr>
          <a:xfrm>
            <a:off x="213422" y="2746094"/>
            <a:ext cx="11765156" cy="2315435"/>
          </a:xfrm>
          <a:prstGeom prst="rect">
            <a:avLst/>
          </a:prstGeom>
        </p:spPr>
        <p:txBody>
          <a:bodyPr lIns="91440" tIns="91440" bIns="91440" anchor="t"/>
          <a:lstStyle>
            <a:lvl1pPr algn="l">
              <a:defRPr sz="5998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83472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1">
    <p:bg>
      <p:bgPr>
        <a:solidFill>
          <a:srgbClr val="0072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0" y="1237240"/>
            <a:ext cx="12192000" cy="2441438"/>
          </a:xfrm>
          <a:prstGeom prst="rect">
            <a:avLst/>
          </a:prstGeom>
        </p:spPr>
        <p:txBody>
          <a:bodyPr lIns="182880" tIns="182880" rIns="182880" bIns="182880"/>
          <a:lstStyle>
            <a:lvl1pPr marL="0" indent="0">
              <a:spcBef>
                <a:spcPts val="1333"/>
              </a:spcBef>
              <a:buFont typeface="Arial"/>
              <a:buNone/>
              <a:defRPr sz="3200" baseline="0">
                <a:solidFill>
                  <a:schemeClr val="tx1"/>
                </a:solidFill>
                <a:latin typeface="Segoe UI Light"/>
                <a:cs typeface="Segoe UI Light"/>
              </a:defRPr>
            </a:lvl1pPr>
            <a:lvl2pPr marL="883729" indent="-457101">
              <a:spcBef>
                <a:spcPts val="1333"/>
              </a:spcBef>
              <a:buFont typeface="Arial" panose="020B0604020202020204" pitchFamily="34" charset="0"/>
              <a:buChar char="•"/>
              <a:defRPr sz="3200">
                <a:solidFill>
                  <a:schemeClr val="bg1"/>
                </a:solidFill>
                <a:latin typeface="Segoe UI Light"/>
                <a:cs typeface="Segoe UI Light"/>
              </a:defRPr>
            </a:lvl2pPr>
            <a:lvl3pPr marL="1218935">
              <a:spcBef>
                <a:spcPts val="1333"/>
              </a:spcBef>
              <a:buFont typeface="Arial"/>
              <a:buChar char="•"/>
              <a:defRPr sz="2932">
                <a:solidFill>
                  <a:schemeClr val="bg1"/>
                </a:solidFill>
                <a:latin typeface="Segoe UI Light"/>
                <a:cs typeface="Segoe UI Light"/>
              </a:defRPr>
            </a:lvl3pPr>
            <a:lvl4pPr marL="1706509">
              <a:spcBef>
                <a:spcPts val="1333"/>
              </a:spcBef>
              <a:buFont typeface="Arial"/>
              <a:buChar char="•"/>
              <a:defRPr sz="2666" baseline="0">
                <a:solidFill>
                  <a:schemeClr val="bg1"/>
                </a:solidFill>
                <a:latin typeface="Segoe UI Light"/>
                <a:cs typeface="Segoe UI Light"/>
              </a:defRPr>
            </a:lvl4pPr>
            <a:lvl5pPr marL="1950296" indent="243787">
              <a:spcBef>
                <a:spcPts val="1333"/>
              </a:spcBef>
              <a:buFont typeface="Arial"/>
              <a:buChar char="•"/>
              <a:tabLst>
                <a:tab pos="2135254" algn="l"/>
              </a:tabLst>
              <a:defRPr sz="2400" baseline="0">
                <a:solidFill>
                  <a:schemeClr val="bg1"/>
                </a:solidFill>
                <a:latin typeface="Segoe UI Light"/>
                <a:cs typeface="Segoe UI Light"/>
              </a:defRPr>
            </a:lvl5pPr>
          </a:lstStyle>
          <a:p>
            <a:pPr lvl="1"/>
            <a:r>
              <a:rPr lang="en-US"/>
              <a:t>Bullet first level</a:t>
            </a:r>
          </a:p>
          <a:p>
            <a:pPr lvl="2"/>
            <a:r>
              <a:rPr lang="en-US"/>
              <a:t>Bullet second level</a:t>
            </a:r>
          </a:p>
          <a:p>
            <a:pPr lvl="3"/>
            <a:r>
              <a:rPr lang="en-US"/>
              <a:t>Bullet third level</a:t>
            </a:r>
          </a:p>
          <a:p>
            <a:pPr lvl="4"/>
            <a:r>
              <a:rPr lang="en-US"/>
              <a:t>Bullet fourth level</a:t>
            </a:r>
          </a:p>
        </p:txBody>
      </p:sp>
      <p:sp>
        <p:nvSpPr>
          <p:cNvPr id="20" name="Title 1"/>
          <p:cNvSpPr>
            <a:spLocks noGrp="1" noChangeAspect="1"/>
          </p:cNvSpPr>
          <p:nvPr>
            <p:ph type="title"/>
          </p:nvPr>
        </p:nvSpPr>
        <p:spPr>
          <a:xfrm>
            <a:off x="139021" y="-2"/>
            <a:ext cx="12052979" cy="1211893"/>
          </a:xfrm>
          <a:prstGeom prst="rect">
            <a:avLst/>
          </a:prstGeom>
        </p:spPr>
        <p:txBody>
          <a:bodyPr lIns="91440" tIns="91440" bIns="91440" anchor="ctr"/>
          <a:lstStyle>
            <a:lvl1pPr algn="l">
              <a:defRPr sz="5332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264777" y="6461377"/>
            <a:ext cx="1684867" cy="16741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US" sz="1067">
                <a:solidFill>
                  <a:schemeClr val="bg1"/>
                </a:solidFill>
                <a:latin typeface="Segoe UI"/>
                <a:cs typeface="Segoe UI"/>
              </a:rPr>
              <a:t>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2438543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513510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24" indent="0" algn="ctr">
              <a:buNone/>
              <a:defRPr sz="2000"/>
            </a:lvl2pPr>
            <a:lvl3pPr marL="914246" indent="0" algn="ctr">
              <a:buNone/>
              <a:defRPr sz="1800"/>
            </a:lvl3pPr>
            <a:lvl4pPr marL="1371370" indent="0" algn="ctr">
              <a:buNone/>
              <a:defRPr sz="1600"/>
            </a:lvl4pPr>
            <a:lvl5pPr marL="1828494" indent="0" algn="ctr">
              <a:buNone/>
              <a:defRPr sz="1600"/>
            </a:lvl5pPr>
            <a:lvl6pPr marL="2285617" indent="0" algn="ctr">
              <a:buNone/>
              <a:defRPr sz="1600"/>
            </a:lvl6pPr>
            <a:lvl7pPr marL="2742740" indent="0" algn="ctr">
              <a:buNone/>
              <a:defRPr sz="1600"/>
            </a:lvl7pPr>
            <a:lvl8pPr marL="3199864" indent="0" algn="ctr">
              <a:buNone/>
              <a:defRPr sz="1600"/>
            </a:lvl8pPr>
            <a:lvl9pPr marL="365698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09498">
              <a:defRPr/>
            </a:pPr>
            <a:fld id="{1C08D212-65BB-4ACD-9568-9335E47E0F62}" type="datetimeFigureOut">
              <a:rPr lang="en-US" sz="2400" smtClean="0">
                <a:solidFill>
                  <a:srgbClr val="404040"/>
                </a:solidFill>
                <a:latin typeface="Segoe UI"/>
              </a:rPr>
              <a:pPr defTabSz="609498">
                <a:defRPr/>
              </a:pPr>
              <a:t>9/25/2019</a:t>
            </a:fld>
            <a:endParaRPr lang="en-US" sz="2400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498">
              <a:defRPr/>
            </a:pPr>
            <a:endParaRPr lang="en-US" sz="2400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498">
              <a:defRPr/>
            </a:pPr>
            <a:fld id="{5FA75C71-C1E2-4770-9019-E1F3F9F7A94A}" type="slidenum">
              <a:rPr lang="en-US" sz="2400" smtClean="0">
                <a:solidFill>
                  <a:srgbClr val="404040"/>
                </a:solidFill>
                <a:latin typeface="Segoe UI"/>
              </a:rPr>
              <a:pPr defTabSz="609498">
                <a:defRPr/>
              </a:pPr>
              <a:t>‹#›</a:t>
            </a:fld>
            <a:endParaRPr lang="en-US" sz="2400">
              <a:solidFill>
                <a:srgbClr val="404040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25762395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5670380"/>
            <a:ext cx="8962384" cy="884990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1961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11653459" cy="1801436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9930706" y="6006587"/>
            <a:ext cx="1813243" cy="38712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303" y="301617"/>
            <a:ext cx="3584143" cy="567015"/>
          </a:xfrm>
        </p:spPr>
        <p:txBody>
          <a:bodyPr lIns="182880" tIns="146304" rIns="182880" bIns="146304"/>
          <a:lstStyle>
            <a:lvl1pPr marL="0" indent="0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430307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149243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5670380"/>
            <a:ext cx="8962384" cy="884990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1961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11653459" cy="1801436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129868" y="5984140"/>
            <a:ext cx="1607625" cy="403448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303" y="301617"/>
            <a:ext cx="3584143" cy="567015"/>
          </a:xfrm>
        </p:spPr>
        <p:txBody>
          <a:bodyPr lIns="182880" tIns="146304" rIns="182880" bIns="146304"/>
          <a:lstStyle>
            <a:lvl1pPr marL="0" indent="0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1466133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84808"/>
          </a:xfrm>
        </p:spPr>
        <p:txBody>
          <a:bodyPr>
            <a:spAutoFit/>
          </a:bodyPr>
          <a:lstStyle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23669418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17113" y="1635896"/>
            <a:ext cx="8605649" cy="4931036"/>
          </a:xfrm>
        </p:spPr>
        <p:txBody>
          <a:bodyPr wrap="square">
            <a:noAutofit/>
          </a:bodyPr>
          <a:lstStyle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77582" y="1635896"/>
            <a:ext cx="2689274" cy="4931036"/>
          </a:xfrm>
        </p:spPr>
        <p:txBody>
          <a:bodyPr>
            <a:noAutofit/>
          </a:bodyPr>
          <a:lstStyle>
            <a:lvl1pPr marL="0" indent="0">
              <a:buNone/>
              <a:defRPr kumimoji="0" lang="en-US" sz="2353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8961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677168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5664" y="2084173"/>
            <a:ext cx="9860672" cy="1793104"/>
          </a:xfrm>
        </p:spPr>
        <p:txBody>
          <a:bodyPr/>
          <a:lstStyle>
            <a:lvl1pPr>
              <a:defRPr sz="4705"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18357817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77582" y="1635896"/>
            <a:ext cx="2689274" cy="4931036"/>
          </a:xfrm>
        </p:spPr>
        <p:txBody>
          <a:bodyPr>
            <a:noAutofit/>
          </a:bodyPr>
          <a:lstStyle>
            <a:lvl1pPr marL="336145" indent="-336145">
              <a:buNone/>
              <a:defRPr kumimoji="0" lang="en-US" sz="2353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8961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</a:t>
            </a:r>
            <a:br>
              <a:rPr lang="en-US"/>
            </a:br>
            <a:r>
              <a:rPr lang="en-US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6916805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4" y="2980724"/>
            <a:ext cx="7171401" cy="896552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00"/>
              </a:spcAft>
              <a:buNone/>
              <a:defRPr lang="en-US" sz="3529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863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defRPr sz="1863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defRPr sz="1863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defRPr sz="1863">
                <a:solidFill>
                  <a:srgbClr val="FFFFFF"/>
                </a:solidFill>
              </a:defRPr>
            </a:lvl5pPr>
          </a:lstStyle>
          <a:p>
            <a:pPr marL="0" lvl="0" indent="0" algn="l" defTabSz="896157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69240" y="1507552"/>
            <a:ext cx="3854647" cy="3842896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21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187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1669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4" y="2980724"/>
            <a:ext cx="7171401" cy="896552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529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96157" rtl="0" eaLnBrk="1" latinLnBrk="0" hangingPunct="1">
              <a:spcBef>
                <a:spcPct val="2000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69242" y="291070"/>
            <a:ext cx="11653522" cy="896552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69240" y="1507552"/>
            <a:ext cx="3854647" cy="3842896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21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187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0855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4" y="2980724"/>
            <a:ext cx="7171401" cy="896552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529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96157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69239" y="1505896"/>
            <a:ext cx="3854627" cy="3846208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316178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504822"/>
          </a:xfrm>
        </p:spPr>
        <p:txBody>
          <a:bodyPr>
            <a:spAutoFit/>
          </a:bodyPr>
          <a:lstStyle>
            <a:lvl1pPr>
              <a:defRPr lang="en-US" sz="2353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72691" indent="-236546">
              <a:defRPr lang="en-US" sz="2353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60184" indent="-336145">
              <a:defRPr lang="en-US" sz="2353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1961"/>
            </a:lvl4pPr>
            <a:lvl5pPr>
              <a:defRPr sz="1961"/>
            </a:lvl5pPr>
          </a:lstStyle>
          <a:p>
            <a:pPr marL="0" lvl="0" indent="0" algn="l" defTabSz="896157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896157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896157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9070317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041517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1910861"/>
      </p:ext>
    </p:extLst>
  </p:cSld>
  <p:clrMapOvr>
    <a:masterClrMapping/>
  </p:clrMapOvr>
  <p:transition spd="med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095548" y="2425049"/>
            <a:ext cx="8000903" cy="2007903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9930706" y="6006587"/>
            <a:ext cx="1813243" cy="3871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62549734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205" y="3085694"/>
            <a:ext cx="3227129" cy="687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262390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69239" y="2262478"/>
            <a:ext cx="1532465" cy="316989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18774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6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651737" y="2256322"/>
            <a:ext cx="3169353" cy="318220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6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095785" y="2257102"/>
            <a:ext cx="3826977" cy="3180644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6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076404" y="2256137"/>
            <a:ext cx="2300636" cy="318257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18774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6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22036867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937869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67026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4E43C2CD-916E-4E61-8E92-0D1F209EB455}" type="datetimeFigureOut">
              <a:rPr lang="en-US" smtClean="0">
                <a:solidFill>
                  <a:srgbClr val="404040"/>
                </a:solidFill>
              </a:rPr>
              <a:pPr/>
              <a:t>9/25/2019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A2136CA9-023A-4D49-821B-11EF8521ACEE}" type="slidenum">
              <a:rPr lang="en-US" smtClean="0">
                <a:solidFill>
                  <a:srgbClr val="404040"/>
                </a:solidFill>
              </a:rPr>
              <a:pPr/>
              <a:t>‹#›</a:t>
            </a:fld>
            <a:endParaRPr lang="en-US">
              <a:solidFill>
                <a:srgbClr val="4040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022403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1">
    <p:bg>
      <p:bgPr>
        <a:solidFill>
          <a:srgbClr val="2428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8571732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8942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3720114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Editab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cxnSp>
        <p:nvCxnSpPr>
          <p:cNvPr id="10" name="Straight Connector 9"/>
          <p:cNvCxnSpPr>
            <a:cxnSpLocks/>
          </p:cNvCxnSpPr>
          <p:nvPr userDrawn="1"/>
        </p:nvCxnSpPr>
        <p:spPr>
          <a:xfrm>
            <a:off x="9587401" y="6115484"/>
            <a:ext cx="0" cy="358617"/>
          </a:xfrm>
          <a:prstGeom prst="line">
            <a:avLst/>
          </a:prstGeom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CD16D0-030B-4E01-8C7E-8FA7B612BB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28510" y="1834506"/>
            <a:ext cx="6274974" cy="1022069"/>
          </a:xfrm>
        </p:spPr>
        <p:txBody>
          <a:bodyPr lIns="182880" tIns="146304" rIns="182880" bIns="146304"/>
          <a:lstStyle>
            <a:lvl1pPr marL="0" indent="0">
              <a:buNone/>
              <a:defRPr sz="5292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202096" y="2599697"/>
            <a:ext cx="5661415" cy="1022998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EA71668-2A88-4115-853E-BEC05FB59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28510" y="259969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2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202096" y="3378027"/>
            <a:ext cx="5661415" cy="1022998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6AE5335-01B3-4932-AE7C-C7409C947F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28510" y="337802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2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38" tIns="143391" rIns="179238" bIns="143391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42445245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Gener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cxnSp>
        <p:nvCxnSpPr>
          <p:cNvPr id="10" name="Straight Connector 9"/>
          <p:cNvCxnSpPr>
            <a:cxnSpLocks/>
          </p:cNvCxnSpPr>
          <p:nvPr userDrawn="1"/>
        </p:nvCxnSpPr>
        <p:spPr>
          <a:xfrm>
            <a:off x="9587401" y="6115484"/>
            <a:ext cx="0" cy="358617"/>
          </a:xfrm>
          <a:prstGeom prst="line">
            <a:avLst/>
          </a:prstGeom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4927288" y="2599697"/>
            <a:ext cx="5661415" cy="1022998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explore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4927288" y="3378027"/>
            <a:ext cx="5661415" cy="1022998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wi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38" tIns="143391" rIns="179238" bIns="143391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37648010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528482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2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4" y="5997082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0">
                <a:latin typeface="+mn-lt"/>
              </a:defRPr>
            </a:lvl1pPr>
            <a:lvl2pPr marL="336044" indent="0">
              <a:buNone/>
              <a:defRPr sz="1960"/>
            </a:lvl2pPr>
            <a:lvl3pPr marL="560073" indent="0">
              <a:buNone/>
              <a:defRPr sz="1960"/>
            </a:lvl3pPr>
            <a:lvl4pPr marL="784103" indent="0">
              <a:buNone/>
              <a:defRPr sz="1960"/>
            </a:lvl4pPr>
            <a:lvl5pPr marL="1008132" indent="0">
              <a:buNone/>
              <a:defRPr sz="1960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14710806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9" dur="9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8" grpId="2"/>
    </p:bld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30" indent="0">
              <a:buNone/>
              <a:defRPr/>
            </a:lvl2pPr>
            <a:lvl3pPr marL="448059" indent="0">
              <a:buNone/>
              <a:defRPr/>
            </a:lvl3pPr>
            <a:lvl4pPr marL="672088" indent="0">
              <a:buNone/>
              <a:defRPr/>
            </a:lvl4pPr>
            <a:lvl5pPr marL="896117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0159805"/>
      </p:ext>
    </p:extLst>
  </p:cSld>
  <p:clrMapOvr>
    <a:masterClrMapping/>
  </p:clrMapOvr>
  <p:transition spd="med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4" y="1187646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39870134"/>
      </p:ext>
    </p:extLst>
  </p:cSld>
  <p:clrMapOvr>
    <a:masterClrMapping/>
  </p:clrMapOvr>
  <p:transition spd="med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0" b="0">
                <a:latin typeface="+mn-lt"/>
              </a:defRPr>
            </a:lvl1pPr>
            <a:lvl2pPr marL="250478" indent="0">
              <a:buFont typeface="Wingdings" panose="05000000000000000000" pitchFamily="2" charset="2"/>
              <a:buNone/>
              <a:defRPr sz="2352" b="0"/>
            </a:lvl2pPr>
            <a:lvl3pPr marL="441835" indent="0">
              <a:buFont typeface="Wingdings" panose="05000000000000000000" pitchFamily="2" charset="2"/>
              <a:buNone/>
              <a:tabLst/>
              <a:defRPr sz="2156" b="0"/>
            </a:lvl3pPr>
            <a:lvl4pPr marL="639416" indent="0">
              <a:buFont typeface="Wingdings" panose="05000000000000000000" pitchFamily="2" charset="2"/>
              <a:buNone/>
              <a:defRPr sz="2156" b="0"/>
            </a:lvl4pPr>
            <a:lvl5pPr marL="836999" indent="0">
              <a:buFont typeface="Wingdings" panose="05000000000000000000" pitchFamily="2" charset="2"/>
              <a:buNone/>
              <a:tabLst/>
              <a:defRPr sz="2156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478" indent="0">
              <a:buFont typeface="Arial" panose="020B0604020202020204" pitchFamily="34" charset="0"/>
              <a:buNone/>
              <a:defRPr lang="en-US" sz="2352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835" indent="0">
              <a:buFont typeface="Arial" panose="020B0604020202020204" pitchFamily="34" charset="0"/>
              <a:buNone/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416" indent="0">
              <a:buFont typeface="Arial" panose="020B0604020202020204" pitchFamily="34" charset="0"/>
              <a:buNone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6999" indent="0">
              <a:buFont typeface="Arial" panose="020B0604020202020204" pitchFamily="34" charset="0"/>
              <a:buNone/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066" marR="0" lvl="0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066" marR="0" lvl="1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066" marR="0" lvl="2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066" marR="0" lvl="3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066" marR="0" lvl="4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3119740"/>
      </p:ext>
    </p:extLst>
  </p:cSld>
  <p:clrMapOvr>
    <a:masterClrMapping/>
  </p:clrMapOvr>
  <p:transition spd="med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141" indent="-227141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0" b="0">
                <a:latin typeface="+mn-lt"/>
              </a:defRPr>
            </a:lvl1pPr>
            <a:lvl2pPr marL="418499" indent="-168022">
              <a:buFont typeface="Wingdings" panose="05000000000000000000" pitchFamily="2" charset="2"/>
              <a:buChar char=""/>
              <a:defRPr sz="2352" b="0"/>
            </a:lvl2pPr>
            <a:lvl3pPr marL="626972" indent="-185135">
              <a:buFont typeface="Wingdings" panose="05000000000000000000" pitchFamily="2" charset="2"/>
              <a:buChar char=""/>
              <a:tabLst/>
              <a:defRPr sz="2156" b="0"/>
            </a:lvl3pPr>
            <a:lvl4pPr marL="812106" indent="-172690">
              <a:buFont typeface="Wingdings" panose="05000000000000000000" pitchFamily="2" charset="2"/>
              <a:buChar char=""/>
              <a:defRPr sz="2156" b="0"/>
            </a:lvl4pPr>
            <a:lvl5pPr marL="1003465" indent="-166467">
              <a:buFont typeface="Wingdings" panose="05000000000000000000" pitchFamily="2" charset="2"/>
              <a:buChar char=""/>
              <a:tabLst/>
              <a:defRPr sz="2156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7644"/>
            <a:ext cx="5378548" cy="2429576"/>
          </a:xfrm>
        </p:spPr>
        <p:txBody>
          <a:bodyPr wrap="square">
            <a:spAutoFit/>
          </a:bodyPr>
          <a:lstStyle>
            <a:lvl1pPr marL="281592" indent="-281592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522" indent="-336044">
              <a:defRPr lang="en-US" sz="2352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7880" indent="-336044"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460" indent="-336044"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043" indent="-336044"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141" marR="0" lvl="0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141" marR="0" lvl="1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141" marR="0" lvl="2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141" marR="0" lvl="3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141" marR="0" lvl="4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8905309"/>
      </p:ext>
    </p:extLst>
  </p:cSld>
  <p:clrMapOvr>
    <a:masterClrMapping/>
  </p:clrMapOvr>
  <p:transition spd="med"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7573049"/>
      </p:ext>
    </p:extLst>
  </p:cSld>
  <p:clrMapOvr>
    <a:masterClrMapping/>
  </p:clrMapOvr>
  <p:transition spd="med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8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9930798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88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2" y="6566900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774125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2" y="6566900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376145827"/>
      </p:ext>
    </p:extLst>
  </p:cSld>
  <p:clrMapOvr>
    <a:masterClrMapping/>
  </p:clrMapOvr>
  <p:transition spd="med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316863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0222918"/>
      </p:ext>
    </p:extLst>
  </p:cSld>
  <p:clrMapOvr>
    <a:masterClrMapping/>
  </p:clrMapOvr>
  <p:transition spd="med"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5817003"/>
      </p:ext>
    </p:extLst>
  </p:cSld>
  <p:clrMapOvr>
    <a:masterClrMapping/>
  </p:clrMapOvr>
  <p:transition spd="med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2" y="6566900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2413828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2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0" tIns="45710" rIns="45710" bIns="457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spcBef>
                <a:spcPct val="0"/>
              </a:spcBef>
              <a:spcAft>
                <a:spcPct val="0"/>
              </a:spcAft>
            </a:pPr>
            <a:endParaRPr lang="en-US" sz="1764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40" y="1197322"/>
            <a:ext cx="11653522" cy="2225866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24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18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27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2998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5252557"/>
      </p:ext>
    </p:extLst>
  </p:cSld>
  <p:clrMapOvr>
    <a:masterClrMapping/>
  </p:clrMapOvr>
  <p:transition spd="med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1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38" tIns="179238" rIns="179238" bIns="179238" numCol="1" anchor="t" anchorCtr="0" compatLnSpc="1">
            <a:prstTxWarp prst="textNoShape">
              <a:avLst/>
            </a:prstTxWarp>
            <a:spAutoFit/>
          </a:bodyPr>
          <a:lstStyle/>
          <a:p>
            <a:pPr defTabSz="913650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3896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bg>
      <p:bgPr>
        <a:solidFill>
          <a:srgbClr val="D2D2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205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/>
          </a:p>
        </p:txBody>
      </p:sp>
      <p:sp>
        <p:nvSpPr>
          <p:cNvPr id="13" name="Title 1"/>
          <p:cNvSpPr>
            <a:spLocks noGrp="1" noChangeAspect="1"/>
          </p:cNvSpPr>
          <p:nvPr>
            <p:ph type="title"/>
          </p:nvPr>
        </p:nvSpPr>
        <p:spPr>
          <a:xfrm>
            <a:off x="213423" y="2746096"/>
            <a:ext cx="11765156" cy="2315435"/>
          </a:xfrm>
          <a:prstGeom prst="rect">
            <a:avLst/>
          </a:prstGeom>
        </p:spPr>
        <p:txBody>
          <a:bodyPr lIns="91440" tIns="91440" bIns="91440" anchor="t"/>
          <a:lstStyle>
            <a:lvl1pPr algn="l">
              <a:defRPr sz="5996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2638575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9303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1" cap="none" spc="-98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69303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5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8" name="MS logo white - EMF">
            <a:extLst>
              <a:ext uri="{FF2B5EF4-FFF2-40B4-BE49-F238E27FC236}">
                <a16:creationId xmlns:a16="http://schemas.microsoft.com/office/drawing/2014/main" id="{4B2448B7-4736-40F6-B6E5-8B83FDA251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3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7414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8" y="286381"/>
            <a:ext cx="11653523" cy="927940"/>
          </a:xfrm>
          <a:prstGeom prst="rect">
            <a:avLst/>
          </a:prstGeom>
        </p:spPr>
        <p:txBody>
          <a:bodyPr lIns="146304" tIns="91440" rIns="146304" bIns="91440" anchor="ctr"/>
          <a:lstStyle>
            <a:lvl1pPr marL="0" algn="ctr" defTabSz="913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352" b="0" kern="1200" cap="all" spc="800" baseline="0" dirty="0">
                <a:ln w="3175">
                  <a:noFill/>
                </a:ln>
                <a:solidFill>
                  <a:srgbClr val="0078D7"/>
                </a:solidFill>
                <a:effectLst/>
                <a:latin typeface="Segoe UI Light" charset="0"/>
                <a:ea typeface="+mn-ea"/>
                <a:cs typeface="Segoe UI Light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5598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1" y="1189179"/>
            <a:ext cx="11653523" cy="213049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0"/>
            </a:lvl2pPr>
            <a:lvl3pPr marL="223944" indent="0">
              <a:buNone/>
              <a:defRPr/>
            </a:lvl3pPr>
            <a:lvl4pPr marL="447887" indent="0">
              <a:buNone/>
              <a:defRPr/>
            </a:lvl4pPr>
            <a:lvl5pPr marL="67183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1198220"/>
      </p:ext>
    </p:extLst>
  </p:cSld>
  <p:clrMapOvr>
    <a:masterClrMapping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4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0491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1" y="585788"/>
            <a:ext cx="1366245" cy="292608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3A3051D2-DD0C-4419-9210-74A066BBE50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584201" y="2903438"/>
            <a:ext cx="4343400" cy="527960"/>
          </a:xfrm>
          <a:custGeom>
            <a:avLst/>
            <a:gdLst>
              <a:gd name="T0" fmla="*/ 763 w 809"/>
              <a:gd name="T1" fmla="*/ 64 h 96"/>
              <a:gd name="T2" fmla="*/ 795 w 809"/>
              <a:gd name="T3" fmla="*/ 58 h 96"/>
              <a:gd name="T4" fmla="*/ 795 w 809"/>
              <a:gd name="T5" fmla="*/ 84 h 96"/>
              <a:gd name="T6" fmla="*/ 777 w 809"/>
              <a:gd name="T7" fmla="*/ 30 h 96"/>
              <a:gd name="T8" fmla="*/ 723 w 809"/>
              <a:gd name="T9" fmla="*/ 95 h 96"/>
              <a:gd name="T10" fmla="*/ 701 w 809"/>
              <a:gd name="T11" fmla="*/ 3 h 96"/>
              <a:gd name="T12" fmla="*/ 707 w 809"/>
              <a:gd name="T13" fmla="*/ 16 h 96"/>
              <a:gd name="T14" fmla="*/ 708 w 809"/>
              <a:gd name="T15" fmla="*/ 95 h 96"/>
              <a:gd name="T16" fmla="*/ 661 w 809"/>
              <a:gd name="T17" fmla="*/ 80 h 96"/>
              <a:gd name="T18" fmla="*/ 624 w 809"/>
              <a:gd name="T19" fmla="*/ 69 h 96"/>
              <a:gd name="T20" fmla="*/ 679 w 809"/>
              <a:gd name="T21" fmla="*/ 95 h 96"/>
              <a:gd name="T22" fmla="*/ 579 w 809"/>
              <a:gd name="T23" fmla="*/ 55 h 96"/>
              <a:gd name="T24" fmla="*/ 598 w 809"/>
              <a:gd name="T25" fmla="*/ 69 h 96"/>
              <a:gd name="T26" fmla="*/ 579 w 809"/>
              <a:gd name="T27" fmla="*/ 19 h 96"/>
              <a:gd name="T28" fmla="*/ 605 w 809"/>
              <a:gd name="T29" fmla="*/ 88 h 96"/>
              <a:gd name="T30" fmla="*/ 602 w 809"/>
              <a:gd name="T31" fmla="*/ 12 h 96"/>
              <a:gd name="T32" fmla="*/ 608 w 809"/>
              <a:gd name="T33" fmla="*/ 55 h 96"/>
              <a:gd name="T34" fmla="*/ 471 w 809"/>
              <a:gd name="T35" fmla="*/ 32 h 96"/>
              <a:gd name="T36" fmla="*/ 474 w 809"/>
              <a:gd name="T37" fmla="*/ 2 h 96"/>
              <a:gd name="T38" fmla="*/ 432 w 809"/>
              <a:gd name="T39" fmla="*/ 32 h 96"/>
              <a:gd name="T40" fmla="*/ 457 w 809"/>
              <a:gd name="T41" fmla="*/ 43 h 96"/>
              <a:gd name="T42" fmla="*/ 500 w 809"/>
              <a:gd name="T43" fmla="*/ 96 h 96"/>
              <a:gd name="T44" fmla="*/ 496 w 809"/>
              <a:gd name="T45" fmla="*/ 74 h 96"/>
              <a:gd name="T46" fmla="*/ 496 w 809"/>
              <a:gd name="T47" fmla="*/ 13 h 96"/>
              <a:gd name="T48" fmla="*/ 378 w 809"/>
              <a:gd name="T49" fmla="*/ 64 h 96"/>
              <a:gd name="T50" fmla="*/ 419 w 809"/>
              <a:gd name="T51" fmla="*/ 39 h 96"/>
              <a:gd name="T52" fmla="*/ 363 w 809"/>
              <a:gd name="T53" fmla="*/ 64 h 96"/>
              <a:gd name="T54" fmla="*/ 345 w 809"/>
              <a:gd name="T55" fmla="*/ 62 h 96"/>
              <a:gd name="T56" fmla="*/ 325 w 809"/>
              <a:gd name="T57" fmla="*/ 48 h 96"/>
              <a:gd name="T58" fmla="*/ 352 w 809"/>
              <a:gd name="T59" fmla="*/ 46 h 96"/>
              <a:gd name="T60" fmla="*/ 313 w 809"/>
              <a:gd name="T61" fmla="*/ 41 h 96"/>
              <a:gd name="T62" fmla="*/ 327 w 809"/>
              <a:gd name="T63" fmla="*/ 67 h 96"/>
              <a:gd name="T64" fmla="*/ 328 w 809"/>
              <a:gd name="T65" fmla="*/ 86 h 96"/>
              <a:gd name="T66" fmla="*/ 347 w 809"/>
              <a:gd name="T67" fmla="*/ 91 h 96"/>
              <a:gd name="T68" fmla="*/ 286 w 809"/>
              <a:gd name="T69" fmla="*/ 63 h 96"/>
              <a:gd name="T70" fmla="*/ 256 w 809"/>
              <a:gd name="T71" fmla="*/ 79 h 96"/>
              <a:gd name="T72" fmla="*/ 301 w 809"/>
              <a:gd name="T73" fmla="*/ 63 h 96"/>
              <a:gd name="T74" fmla="*/ 246 w 809"/>
              <a:gd name="T75" fmla="*/ 39 h 96"/>
              <a:gd name="T76" fmla="*/ 210 w 809"/>
              <a:gd name="T77" fmla="*/ 45 h 96"/>
              <a:gd name="T78" fmla="*/ 210 w 809"/>
              <a:gd name="T79" fmla="*/ 65 h 96"/>
              <a:gd name="T80" fmla="*/ 226 w 809"/>
              <a:gd name="T81" fmla="*/ 31 h 96"/>
              <a:gd name="T82" fmla="*/ 165 w 809"/>
              <a:gd name="T83" fmla="*/ 96 h 96"/>
              <a:gd name="T84" fmla="*/ 148 w 809"/>
              <a:gd name="T85" fmla="*/ 64 h 96"/>
              <a:gd name="T86" fmla="*/ 167 w 809"/>
              <a:gd name="T87" fmla="*/ 30 h 96"/>
              <a:gd name="T88" fmla="*/ 108 w 809"/>
              <a:gd name="T89" fmla="*/ 32 h 96"/>
              <a:gd name="T90" fmla="*/ 110 w 809"/>
              <a:gd name="T91" fmla="*/ 17 h 96"/>
              <a:gd name="T92" fmla="*/ 116 w 809"/>
              <a:gd name="T93" fmla="*/ 3 h 96"/>
              <a:gd name="T94" fmla="*/ 80 w 809"/>
              <a:gd name="T95" fmla="*/ 38 h 96"/>
              <a:gd name="T96" fmla="*/ 42 w 809"/>
              <a:gd name="T97" fmla="*/ 95 h 96"/>
              <a:gd name="T98" fmla="*/ 14 w 809"/>
              <a:gd name="T99" fmla="*/ 95 h 96"/>
              <a:gd name="T100" fmla="*/ 47 w 809"/>
              <a:gd name="T101" fmla="*/ 7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09" h="96">
                <a:moveTo>
                  <a:pt x="795" y="58"/>
                </a:moveTo>
                <a:cubicBezTo>
                  <a:pt x="795" y="53"/>
                  <a:pt x="794" y="50"/>
                  <a:pt x="791" y="46"/>
                </a:cubicBezTo>
                <a:cubicBezTo>
                  <a:pt x="788" y="43"/>
                  <a:pt x="784" y="42"/>
                  <a:pt x="780" y="42"/>
                </a:cubicBezTo>
                <a:cubicBezTo>
                  <a:pt x="775" y="42"/>
                  <a:pt x="770" y="44"/>
                  <a:pt x="767" y="48"/>
                </a:cubicBezTo>
                <a:cubicBezTo>
                  <a:pt x="764" y="52"/>
                  <a:pt x="763" y="57"/>
                  <a:pt x="763" y="64"/>
                </a:cubicBezTo>
                <a:cubicBezTo>
                  <a:pt x="763" y="71"/>
                  <a:pt x="764" y="76"/>
                  <a:pt x="767" y="79"/>
                </a:cubicBezTo>
                <a:cubicBezTo>
                  <a:pt x="770" y="83"/>
                  <a:pt x="774" y="85"/>
                  <a:pt x="779" y="85"/>
                </a:cubicBezTo>
                <a:cubicBezTo>
                  <a:pt x="784" y="85"/>
                  <a:pt x="788" y="83"/>
                  <a:pt x="791" y="79"/>
                </a:cubicBezTo>
                <a:cubicBezTo>
                  <a:pt x="794" y="76"/>
                  <a:pt x="795" y="71"/>
                  <a:pt x="795" y="66"/>
                </a:cubicBezTo>
                <a:lnTo>
                  <a:pt x="795" y="58"/>
                </a:lnTo>
                <a:close/>
                <a:moveTo>
                  <a:pt x="809" y="2"/>
                </a:moveTo>
                <a:cubicBezTo>
                  <a:pt x="809" y="95"/>
                  <a:pt x="809" y="95"/>
                  <a:pt x="809" y="95"/>
                </a:cubicBezTo>
                <a:cubicBezTo>
                  <a:pt x="795" y="95"/>
                  <a:pt x="795" y="95"/>
                  <a:pt x="795" y="95"/>
                </a:cubicBezTo>
                <a:cubicBezTo>
                  <a:pt x="795" y="84"/>
                  <a:pt x="795" y="84"/>
                  <a:pt x="795" y="84"/>
                </a:cubicBezTo>
                <a:cubicBezTo>
                  <a:pt x="795" y="84"/>
                  <a:pt x="795" y="84"/>
                  <a:pt x="795" y="84"/>
                </a:cubicBezTo>
                <a:cubicBezTo>
                  <a:pt x="790" y="92"/>
                  <a:pt x="783" y="96"/>
                  <a:pt x="774" y="96"/>
                </a:cubicBezTo>
                <a:cubicBezTo>
                  <a:pt x="766" y="96"/>
                  <a:pt x="760" y="93"/>
                  <a:pt x="755" y="88"/>
                </a:cubicBezTo>
                <a:cubicBezTo>
                  <a:pt x="751" y="82"/>
                  <a:pt x="748" y="74"/>
                  <a:pt x="748" y="65"/>
                </a:cubicBezTo>
                <a:cubicBezTo>
                  <a:pt x="748" y="54"/>
                  <a:pt x="751" y="46"/>
                  <a:pt x="756" y="40"/>
                </a:cubicBezTo>
                <a:cubicBezTo>
                  <a:pt x="761" y="34"/>
                  <a:pt x="768" y="30"/>
                  <a:pt x="777" y="30"/>
                </a:cubicBezTo>
                <a:cubicBezTo>
                  <a:pt x="785" y="30"/>
                  <a:pt x="791" y="34"/>
                  <a:pt x="795" y="41"/>
                </a:cubicBezTo>
                <a:cubicBezTo>
                  <a:pt x="795" y="41"/>
                  <a:pt x="795" y="41"/>
                  <a:pt x="795" y="41"/>
                </a:cubicBezTo>
                <a:cubicBezTo>
                  <a:pt x="795" y="2"/>
                  <a:pt x="795" y="2"/>
                  <a:pt x="795" y="2"/>
                </a:cubicBezTo>
                <a:lnTo>
                  <a:pt x="809" y="2"/>
                </a:lnTo>
                <a:close/>
                <a:moveTo>
                  <a:pt x="723" y="95"/>
                </a:moveTo>
                <a:cubicBezTo>
                  <a:pt x="738" y="95"/>
                  <a:pt x="738" y="95"/>
                  <a:pt x="738" y="95"/>
                </a:cubicBezTo>
                <a:cubicBezTo>
                  <a:pt x="738" y="2"/>
                  <a:pt x="738" y="2"/>
                  <a:pt x="738" y="2"/>
                </a:cubicBezTo>
                <a:cubicBezTo>
                  <a:pt x="723" y="2"/>
                  <a:pt x="723" y="2"/>
                  <a:pt x="723" y="2"/>
                </a:cubicBezTo>
                <a:lnTo>
                  <a:pt x="723" y="95"/>
                </a:lnTo>
                <a:close/>
                <a:moveTo>
                  <a:pt x="701" y="3"/>
                </a:moveTo>
                <a:cubicBezTo>
                  <a:pt x="699" y="3"/>
                  <a:pt x="697" y="3"/>
                  <a:pt x="695" y="5"/>
                </a:cubicBezTo>
                <a:cubicBezTo>
                  <a:pt x="694" y="7"/>
                  <a:pt x="693" y="8"/>
                  <a:pt x="693" y="11"/>
                </a:cubicBezTo>
                <a:cubicBezTo>
                  <a:pt x="693" y="13"/>
                  <a:pt x="694" y="15"/>
                  <a:pt x="695" y="17"/>
                </a:cubicBezTo>
                <a:cubicBezTo>
                  <a:pt x="697" y="18"/>
                  <a:pt x="699" y="19"/>
                  <a:pt x="701" y="19"/>
                </a:cubicBezTo>
                <a:cubicBezTo>
                  <a:pt x="704" y="19"/>
                  <a:pt x="706" y="18"/>
                  <a:pt x="707" y="16"/>
                </a:cubicBezTo>
                <a:cubicBezTo>
                  <a:pt x="709" y="15"/>
                  <a:pt x="710" y="13"/>
                  <a:pt x="710" y="11"/>
                </a:cubicBezTo>
                <a:cubicBezTo>
                  <a:pt x="710" y="8"/>
                  <a:pt x="709" y="7"/>
                  <a:pt x="707" y="5"/>
                </a:cubicBezTo>
                <a:cubicBezTo>
                  <a:pt x="706" y="3"/>
                  <a:pt x="704" y="3"/>
                  <a:pt x="701" y="3"/>
                </a:cubicBezTo>
                <a:moveTo>
                  <a:pt x="694" y="95"/>
                </a:moveTo>
                <a:cubicBezTo>
                  <a:pt x="708" y="95"/>
                  <a:pt x="708" y="95"/>
                  <a:pt x="708" y="95"/>
                </a:cubicBezTo>
                <a:cubicBezTo>
                  <a:pt x="708" y="32"/>
                  <a:pt x="708" y="32"/>
                  <a:pt x="708" y="32"/>
                </a:cubicBezTo>
                <a:cubicBezTo>
                  <a:pt x="694" y="32"/>
                  <a:pt x="694" y="32"/>
                  <a:pt x="694" y="32"/>
                </a:cubicBezTo>
                <a:lnTo>
                  <a:pt x="694" y="95"/>
                </a:lnTo>
                <a:close/>
                <a:moveTo>
                  <a:pt x="665" y="68"/>
                </a:moveTo>
                <a:cubicBezTo>
                  <a:pt x="665" y="73"/>
                  <a:pt x="664" y="77"/>
                  <a:pt x="661" y="80"/>
                </a:cubicBezTo>
                <a:cubicBezTo>
                  <a:pt x="658" y="83"/>
                  <a:pt x="655" y="85"/>
                  <a:pt x="651" y="85"/>
                </a:cubicBezTo>
                <a:cubicBezTo>
                  <a:pt x="642" y="85"/>
                  <a:pt x="638" y="79"/>
                  <a:pt x="638" y="68"/>
                </a:cubicBezTo>
                <a:cubicBezTo>
                  <a:pt x="638" y="32"/>
                  <a:pt x="638" y="32"/>
                  <a:pt x="638" y="32"/>
                </a:cubicBezTo>
                <a:cubicBezTo>
                  <a:pt x="624" y="32"/>
                  <a:pt x="624" y="32"/>
                  <a:pt x="624" y="32"/>
                </a:cubicBezTo>
                <a:cubicBezTo>
                  <a:pt x="624" y="69"/>
                  <a:pt x="624" y="69"/>
                  <a:pt x="624" y="69"/>
                </a:cubicBezTo>
                <a:cubicBezTo>
                  <a:pt x="624" y="87"/>
                  <a:pt x="631" y="96"/>
                  <a:pt x="646" y="96"/>
                </a:cubicBezTo>
                <a:cubicBezTo>
                  <a:pt x="654" y="96"/>
                  <a:pt x="661" y="92"/>
                  <a:pt x="665" y="85"/>
                </a:cubicBezTo>
                <a:cubicBezTo>
                  <a:pt x="665" y="85"/>
                  <a:pt x="665" y="85"/>
                  <a:pt x="665" y="85"/>
                </a:cubicBezTo>
                <a:cubicBezTo>
                  <a:pt x="665" y="95"/>
                  <a:pt x="665" y="95"/>
                  <a:pt x="665" y="95"/>
                </a:cubicBezTo>
                <a:cubicBezTo>
                  <a:pt x="679" y="95"/>
                  <a:pt x="679" y="95"/>
                  <a:pt x="679" y="95"/>
                </a:cubicBezTo>
                <a:cubicBezTo>
                  <a:pt x="679" y="32"/>
                  <a:pt x="679" y="32"/>
                  <a:pt x="679" y="32"/>
                </a:cubicBezTo>
                <a:cubicBezTo>
                  <a:pt x="665" y="32"/>
                  <a:pt x="665" y="32"/>
                  <a:pt x="665" y="32"/>
                </a:cubicBezTo>
                <a:lnTo>
                  <a:pt x="665" y="68"/>
                </a:lnTo>
                <a:close/>
                <a:moveTo>
                  <a:pt x="598" y="69"/>
                </a:moveTo>
                <a:cubicBezTo>
                  <a:pt x="598" y="60"/>
                  <a:pt x="592" y="55"/>
                  <a:pt x="579" y="55"/>
                </a:cubicBezTo>
                <a:cubicBezTo>
                  <a:pt x="569" y="55"/>
                  <a:pt x="569" y="55"/>
                  <a:pt x="569" y="55"/>
                </a:cubicBezTo>
                <a:cubicBezTo>
                  <a:pt x="569" y="83"/>
                  <a:pt x="569" y="83"/>
                  <a:pt x="569" y="83"/>
                </a:cubicBezTo>
                <a:cubicBezTo>
                  <a:pt x="581" y="83"/>
                  <a:pt x="581" y="83"/>
                  <a:pt x="581" y="83"/>
                </a:cubicBezTo>
                <a:cubicBezTo>
                  <a:pt x="587" y="83"/>
                  <a:pt x="591" y="82"/>
                  <a:pt x="594" y="79"/>
                </a:cubicBezTo>
                <a:cubicBezTo>
                  <a:pt x="597" y="77"/>
                  <a:pt x="598" y="73"/>
                  <a:pt x="598" y="69"/>
                </a:cubicBezTo>
                <a:moveTo>
                  <a:pt x="569" y="44"/>
                </a:moveTo>
                <a:cubicBezTo>
                  <a:pt x="578" y="44"/>
                  <a:pt x="578" y="44"/>
                  <a:pt x="578" y="44"/>
                </a:cubicBezTo>
                <a:cubicBezTo>
                  <a:pt x="583" y="44"/>
                  <a:pt x="587" y="42"/>
                  <a:pt x="590" y="40"/>
                </a:cubicBezTo>
                <a:cubicBezTo>
                  <a:pt x="593" y="38"/>
                  <a:pt x="594" y="34"/>
                  <a:pt x="594" y="30"/>
                </a:cubicBezTo>
                <a:cubicBezTo>
                  <a:pt x="594" y="22"/>
                  <a:pt x="589" y="19"/>
                  <a:pt x="579" y="19"/>
                </a:cubicBezTo>
                <a:cubicBezTo>
                  <a:pt x="569" y="19"/>
                  <a:pt x="569" y="19"/>
                  <a:pt x="569" y="19"/>
                </a:cubicBezTo>
                <a:lnTo>
                  <a:pt x="569" y="44"/>
                </a:lnTo>
                <a:close/>
                <a:moveTo>
                  <a:pt x="608" y="55"/>
                </a:moveTo>
                <a:cubicBezTo>
                  <a:pt x="612" y="58"/>
                  <a:pt x="614" y="63"/>
                  <a:pt x="614" y="69"/>
                </a:cubicBezTo>
                <a:cubicBezTo>
                  <a:pt x="614" y="77"/>
                  <a:pt x="611" y="83"/>
                  <a:pt x="605" y="88"/>
                </a:cubicBezTo>
                <a:cubicBezTo>
                  <a:pt x="599" y="92"/>
                  <a:pt x="591" y="95"/>
                  <a:pt x="582" y="95"/>
                </a:cubicBezTo>
                <a:cubicBezTo>
                  <a:pt x="554" y="95"/>
                  <a:pt x="554" y="95"/>
                  <a:pt x="554" y="95"/>
                </a:cubicBezTo>
                <a:cubicBezTo>
                  <a:pt x="554" y="7"/>
                  <a:pt x="554" y="7"/>
                  <a:pt x="554" y="7"/>
                </a:cubicBezTo>
                <a:cubicBezTo>
                  <a:pt x="582" y="7"/>
                  <a:pt x="582" y="7"/>
                  <a:pt x="582" y="7"/>
                </a:cubicBezTo>
                <a:cubicBezTo>
                  <a:pt x="591" y="7"/>
                  <a:pt x="597" y="9"/>
                  <a:pt x="602" y="12"/>
                </a:cubicBezTo>
                <a:cubicBezTo>
                  <a:pt x="607" y="16"/>
                  <a:pt x="610" y="21"/>
                  <a:pt x="610" y="27"/>
                </a:cubicBezTo>
                <a:cubicBezTo>
                  <a:pt x="610" y="32"/>
                  <a:pt x="608" y="36"/>
                  <a:pt x="605" y="40"/>
                </a:cubicBezTo>
                <a:cubicBezTo>
                  <a:pt x="603" y="44"/>
                  <a:pt x="599" y="46"/>
                  <a:pt x="594" y="48"/>
                </a:cubicBezTo>
                <a:cubicBezTo>
                  <a:pt x="594" y="48"/>
                  <a:pt x="594" y="48"/>
                  <a:pt x="594" y="48"/>
                </a:cubicBezTo>
                <a:cubicBezTo>
                  <a:pt x="600" y="49"/>
                  <a:pt x="605" y="51"/>
                  <a:pt x="608" y="55"/>
                </a:cubicBezTo>
                <a:moveTo>
                  <a:pt x="496" y="13"/>
                </a:moveTo>
                <a:cubicBezTo>
                  <a:pt x="482" y="17"/>
                  <a:pt x="482" y="17"/>
                  <a:pt x="482" y="17"/>
                </a:cubicBezTo>
                <a:cubicBezTo>
                  <a:pt x="482" y="32"/>
                  <a:pt x="482" y="32"/>
                  <a:pt x="482" y="32"/>
                </a:cubicBezTo>
                <a:cubicBezTo>
                  <a:pt x="471" y="32"/>
                  <a:pt x="471" y="32"/>
                  <a:pt x="471" y="32"/>
                </a:cubicBezTo>
                <a:cubicBezTo>
                  <a:pt x="471" y="32"/>
                  <a:pt x="471" y="32"/>
                  <a:pt x="471" y="32"/>
                </a:cubicBezTo>
                <a:cubicBezTo>
                  <a:pt x="457" y="32"/>
                  <a:pt x="457" y="32"/>
                  <a:pt x="457" y="32"/>
                </a:cubicBezTo>
                <a:cubicBezTo>
                  <a:pt x="457" y="23"/>
                  <a:pt x="457" y="23"/>
                  <a:pt x="457" y="23"/>
                </a:cubicBezTo>
                <a:cubicBezTo>
                  <a:pt x="457" y="16"/>
                  <a:pt x="460" y="12"/>
                  <a:pt x="467" y="12"/>
                </a:cubicBezTo>
                <a:cubicBezTo>
                  <a:pt x="470" y="12"/>
                  <a:pt x="472" y="12"/>
                  <a:pt x="474" y="13"/>
                </a:cubicBezTo>
                <a:cubicBezTo>
                  <a:pt x="474" y="2"/>
                  <a:pt x="474" y="2"/>
                  <a:pt x="474" y="2"/>
                </a:cubicBezTo>
                <a:cubicBezTo>
                  <a:pt x="472" y="1"/>
                  <a:pt x="469" y="0"/>
                  <a:pt x="465" y="0"/>
                </a:cubicBezTo>
                <a:cubicBezTo>
                  <a:pt x="459" y="0"/>
                  <a:pt x="454" y="2"/>
                  <a:pt x="449" y="6"/>
                </a:cubicBezTo>
                <a:cubicBezTo>
                  <a:pt x="445" y="10"/>
                  <a:pt x="443" y="15"/>
                  <a:pt x="443" y="22"/>
                </a:cubicBezTo>
                <a:cubicBezTo>
                  <a:pt x="443" y="32"/>
                  <a:pt x="443" y="32"/>
                  <a:pt x="443" y="32"/>
                </a:cubicBezTo>
                <a:cubicBezTo>
                  <a:pt x="432" y="32"/>
                  <a:pt x="432" y="32"/>
                  <a:pt x="432" y="32"/>
                </a:cubicBezTo>
                <a:cubicBezTo>
                  <a:pt x="432" y="43"/>
                  <a:pt x="432" y="43"/>
                  <a:pt x="432" y="43"/>
                </a:cubicBezTo>
                <a:cubicBezTo>
                  <a:pt x="443" y="43"/>
                  <a:pt x="443" y="43"/>
                  <a:pt x="443" y="43"/>
                </a:cubicBezTo>
                <a:cubicBezTo>
                  <a:pt x="443" y="95"/>
                  <a:pt x="443" y="95"/>
                  <a:pt x="443" y="95"/>
                </a:cubicBezTo>
                <a:cubicBezTo>
                  <a:pt x="457" y="95"/>
                  <a:pt x="457" y="95"/>
                  <a:pt x="457" y="95"/>
                </a:cubicBezTo>
                <a:cubicBezTo>
                  <a:pt x="457" y="43"/>
                  <a:pt x="457" y="43"/>
                  <a:pt x="457" y="43"/>
                </a:cubicBezTo>
                <a:cubicBezTo>
                  <a:pt x="471" y="43"/>
                  <a:pt x="471" y="43"/>
                  <a:pt x="471" y="43"/>
                </a:cubicBezTo>
                <a:cubicBezTo>
                  <a:pt x="471" y="43"/>
                  <a:pt x="471" y="43"/>
                  <a:pt x="471" y="43"/>
                </a:cubicBezTo>
                <a:cubicBezTo>
                  <a:pt x="482" y="43"/>
                  <a:pt x="482" y="43"/>
                  <a:pt x="482" y="43"/>
                </a:cubicBezTo>
                <a:cubicBezTo>
                  <a:pt x="482" y="79"/>
                  <a:pt x="482" y="79"/>
                  <a:pt x="482" y="79"/>
                </a:cubicBezTo>
                <a:cubicBezTo>
                  <a:pt x="482" y="90"/>
                  <a:pt x="488" y="96"/>
                  <a:pt x="500" y="96"/>
                </a:cubicBezTo>
                <a:cubicBezTo>
                  <a:pt x="504" y="96"/>
                  <a:pt x="508" y="95"/>
                  <a:pt x="511" y="94"/>
                </a:cubicBezTo>
                <a:cubicBezTo>
                  <a:pt x="511" y="83"/>
                  <a:pt x="511" y="83"/>
                  <a:pt x="511" y="83"/>
                </a:cubicBezTo>
                <a:cubicBezTo>
                  <a:pt x="509" y="84"/>
                  <a:pt x="507" y="85"/>
                  <a:pt x="505" y="85"/>
                </a:cubicBezTo>
                <a:cubicBezTo>
                  <a:pt x="501" y="85"/>
                  <a:pt x="499" y="84"/>
                  <a:pt x="498" y="82"/>
                </a:cubicBezTo>
                <a:cubicBezTo>
                  <a:pt x="496" y="81"/>
                  <a:pt x="496" y="78"/>
                  <a:pt x="496" y="74"/>
                </a:cubicBezTo>
                <a:cubicBezTo>
                  <a:pt x="496" y="43"/>
                  <a:pt x="496" y="43"/>
                  <a:pt x="496" y="43"/>
                </a:cubicBezTo>
                <a:cubicBezTo>
                  <a:pt x="511" y="43"/>
                  <a:pt x="511" y="43"/>
                  <a:pt x="511" y="43"/>
                </a:cubicBezTo>
                <a:cubicBezTo>
                  <a:pt x="511" y="32"/>
                  <a:pt x="511" y="32"/>
                  <a:pt x="511" y="32"/>
                </a:cubicBezTo>
                <a:cubicBezTo>
                  <a:pt x="496" y="32"/>
                  <a:pt x="496" y="32"/>
                  <a:pt x="496" y="32"/>
                </a:cubicBezTo>
                <a:lnTo>
                  <a:pt x="496" y="13"/>
                </a:lnTo>
                <a:close/>
                <a:moveTo>
                  <a:pt x="413" y="63"/>
                </a:moveTo>
                <a:cubicBezTo>
                  <a:pt x="413" y="56"/>
                  <a:pt x="412" y="51"/>
                  <a:pt x="409" y="47"/>
                </a:cubicBezTo>
                <a:cubicBezTo>
                  <a:pt x="406" y="44"/>
                  <a:pt x="401" y="42"/>
                  <a:pt x="396" y="42"/>
                </a:cubicBezTo>
                <a:cubicBezTo>
                  <a:pt x="390" y="42"/>
                  <a:pt x="386" y="44"/>
                  <a:pt x="382" y="48"/>
                </a:cubicBezTo>
                <a:cubicBezTo>
                  <a:pt x="379" y="51"/>
                  <a:pt x="378" y="57"/>
                  <a:pt x="378" y="64"/>
                </a:cubicBezTo>
                <a:cubicBezTo>
                  <a:pt x="378" y="70"/>
                  <a:pt x="379" y="75"/>
                  <a:pt x="383" y="79"/>
                </a:cubicBezTo>
                <a:cubicBezTo>
                  <a:pt x="386" y="83"/>
                  <a:pt x="390" y="85"/>
                  <a:pt x="396" y="85"/>
                </a:cubicBezTo>
                <a:cubicBezTo>
                  <a:pt x="401" y="85"/>
                  <a:pt x="406" y="83"/>
                  <a:pt x="409" y="79"/>
                </a:cubicBezTo>
                <a:cubicBezTo>
                  <a:pt x="412" y="76"/>
                  <a:pt x="413" y="70"/>
                  <a:pt x="413" y="63"/>
                </a:cubicBezTo>
                <a:moveTo>
                  <a:pt x="419" y="39"/>
                </a:moveTo>
                <a:cubicBezTo>
                  <a:pt x="425" y="45"/>
                  <a:pt x="428" y="53"/>
                  <a:pt x="428" y="63"/>
                </a:cubicBezTo>
                <a:cubicBezTo>
                  <a:pt x="428" y="73"/>
                  <a:pt x="425" y="81"/>
                  <a:pt x="419" y="87"/>
                </a:cubicBezTo>
                <a:cubicBezTo>
                  <a:pt x="413" y="93"/>
                  <a:pt x="405" y="96"/>
                  <a:pt x="395" y="96"/>
                </a:cubicBezTo>
                <a:cubicBezTo>
                  <a:pt x="385" y="96"/>
                  <a:pt x="378" y="93"/>
                  <a:pt x="372" y="87"/>
                </a:cubicBezTo>
                <a:cubicBezTo>
                  <a:pt x="366" y="81"/>
                  <a:pt x="363" y="74"/>
                  <a:pt x="363" y="64"/>
                </a:cubicBezTo>
                <a:cubicBezTo>
                  <a:pt x="363" y="53"/>
                  <a:pt x="366" y="45"/>
                  <a:pt x="372" y="39"/>
                </a:cubicBezTo>
                <a:cubicBezTo>
                  <a:pt x="378" y="33"/>
                  <a:pt x="386" y="30"/>
                  <a:pt x="396" y="30"/>
                </a:cubicBezTo>
                <a:cubicBezTo>
                  <a:pt x="406" y="30"/>
                  <a:pt x="414" y="33"/>
                  <a:pt x="419" y="39"/>
                </a:cubicBezTo>
                <a:moveTo>
                  <a:pt x="350" y="66"/>
                </a:moveTo>
                <a:cubicBezTo>
                  <a:pt x="349" y="64"/>
                  <a:pt x="347" y="63"/>
                  <a:pt x="345" y="62"/>
                </a:cubicBezTo>
                <a:cubicBezTo>
                  <a:pt x="343" y="60"/>
                  <a:pt x="340" y="59"/>
                  <a:pt x="337" y="58"/>
                </a:cubicBezTo>
                <a:cubicBezTo>
                  <a:pt x="335" y="58"/>
                  <a:pt x="334" y="57"/>
                  <a:pt x="332" y="56"/>
                </a:cubicBezTo>
                <a:cubicBezTo>
                  <a:pt x="330" y="56"/>
                  <a:pt x="329" y="55"/>
                  <a:pt x="328" y="54"/>
                </a:cubicBezTo>
                <a:cubicBezTo>
                  <a:pt x="327" y="54"/>
                  <a:pt x="326" y="53"/>
                  <a:pt x="325" y="52"/>
                </a:cubicBezTo>
                <a:cubicBezTo>
                  <a:pt x="325" y="51"/>
                  <a:pt x="325" y="50"/>
                  <a:pt x="325" y="48"/>
                </a:cubicBezTo>
                <a:cubicBezTo>
                  <a:pt x="325" y="47"/>
                  <a:pt x="325" y="46"/>
                  <a:pt x="325" y="45"/>
                </a:cubicBezTo>
                <a:cubicBezTo>
                  <a:pt x="326" y="45"/>
                  <a:pt x="327" y="44"/>
                  <a:pt x="328" y="43"/>
                </a:cubicBezTo>
                <a:cubicBezTo>
                  <a:pt x="329" y="42"/>
                  <a:pt x="330" y="42"/>
                  <a:pt x="332" y="42"/>
                </a:cubicBezTo>
                <a:cubicBezTo>
                  <a:pt x="333" y="41"/>
                  <a:pt x="335" y="41"/>
                  <a:pt x="336" y="41"/>
                </a:cubicBezTo>
                <a:cubicBezTo>
                  <a:pt x="342" y="41"/>
                  <a:pt x="347" y="43"/>
                  <a:pt x="352" y="46"/>
                </a:cubicBezTo>
                <a:cubicBezTo>
                  <a:pt x="352" y="33"/>
                  <a:pt x="352" y="33"/>
                  <a:pt x="352" y="33"/>
                </a:cubicBezTo>
                <a:cubicBezTo>
                  <a:pt x="347" y="31"/>
                  <a:pt x="342" y="30"/>
                  <a:pt x="336" y="30"/>
                </a:cubicBezTo>
                <a:cubicBezTo>
                  <a:pt x="333" y="30"/>
                  <a:pt x="330" y="31"/>
                  <a:pt x="327" y="32"/>
                </a:cubicBezTo>
                <a:cubicBezTo>
                  <a:pt x="323" y="32"/>
                  <a:pt x="321" y="34"/>
                  <a:pt x="318" y="35"/>
                </a:cubicBezTo>
                <a:cubicBezTo>
                  <a:pt x="316" y="37"/>
                  <a:pt x="314" y="39"/>
                  <a:pt x="313" y="41"/>
                </a:cubicBezTo>
                <a:cubicBezTo>
                  <a:pt x="311" y="43"/>
                  <a:pt x="310" y="46"/>
                  <a:pt x="310" y="49"/>
                </a:cubicBezTo>
                <a:cubicBezTo>
                  <a:pt x="310" y="51"/>
                  <a:pt x="311" y="54"/>
                  <a:pt x="311" y="55"/>
                </a:cubicBezTo>
                <a:cubicBezTo>
                  <a:pt x="312" y="57"/>
                  <a:pt x="313" y="59"/>
                  <a:pt x="315" y="60"/>
                </a:cubicBezTo>
                <a:cubicBezTo>
                  <a:pt x="316" y="62"/>
                  <a:pt x="318" y="63"/>
                  <a:pt x="320" y="64"/>
                </a:cubicBezTo>
                <a:cubicBezTo>
                  <a:pt x="322" y="65"/>
                  <a:pt x="324" y="66"/>
                  <a:pt x="327" y="67"/>
                </a:cubicBezTo>
                <a:cubicBezTo>
                  <a:pt x="329" y="68"/>
                  <a:pt x="331" y="69"/>
                  <a:pt x="332" y="70"/>
                </a:cubicBezTo>
                <a:cubicBezTo>
                  <a:pt x="334" y="70"/>
                  <a:pt x="335" y="71"/>
                  <a:pt x="337" y="72"/>
                </a:cubicBezTo>
                <a:cubicBezTo>
                  <a:pt x="338" y="72"/>
                  <a:pt x="339" y="73"/>
                  <a:pt x="340" y="74"/>
                </a:cubicBezTo>
                <a:cubicBezTo>
                  <a:pt x="340" y="75"/>
                  <a:pt x="341" y="77"/>
                  <a:pt x="341" y="78"/>
                </a:cubicBezTo>
                <a:cubicBezTo>
                  <a:pt x="341" y="83"/>
                  <a:pt x="336" y="86"/>
                  <a:pt x="328" y="86"/>
                </a:cubicBezTo>
                <a:cubicBezTo>
                  <a:pt x="322" y="86"/>
                  <a:pt x="316" y="84"/>
                  <a:pt x="310" y="79"/>
                </a:cubicBezTo>
                <a:cubicBezTo>
                  <a:pt x="310" y="93"/>
                  <a:pt x="310" y="93"/>
                  <a:pt x="310" y="93"/>
                </a:cubicBezTo>
                <a:cubicBezTo>
                  <a:pt x="315" y="95"/>
                  <a:pt x="321" y="96"/>
                  <a:pt x="328" y="96"/>
                </a:cubicBezTo>
                <a:cubicBezTo>
                  <a:pt x="332" y="96"/>
                  <a:pt x="335" y="96"/>
                  <a:pt x="338" y="95"/>
                </a:cubicBezTo>
                <a:cubicBezTo>
                  <a:pt x="342" y="94"/>
                  <a:pt x="344" y="93"/>
                  <a:pt x="347" y="91"/>
                </a:cubicBezTo>
                <a:cubicBezTo>
                  <a:pt x="349" y="90"/>
                  <a:pt x="351" y="88"/>
                  <a:pt x="353" y="86"/>
                </a:cubicBezTo>
                <a:cubicBezTo>
                  <a:pt x="354" y="83"/>
                  <a:pt x="355" y="80"/>
                  <a:pt x="355" y="77"/>
                </a:cubicBezTo>
                <a:cubicBezTo>
                  <a:pt x="355" y="75"/>
                  <a:pt x="354" y="72"/>
                  <a:pt x="354" y="71"/>
                </a:cubicBezTo>
                <a:cubicBezTo>
                  <a:pt x="353" y="69"/>
                  <a:pt x="352" y="67"/>
                  <a:pt x="350" y="66"/>
                </a:cubicBezTo>
                <a:moveTo>
                  <a:pt x="286" y="63"/>
                </a:moveTo>
                <a:cubicBezTo>
                  <a:pt x="286" y="56"/>
                  <a:pt x="285" y="51"/>
                  <a:pt x="282" y="47"/>
                </a:cubicBezTo>
                <a:cubicBezTo>
                  <a:pt x="279" y="44"/>
                  <a:pt x="275" y="42"/>
                  <a:pt x="269" y="42"/>
                </a:cubicBezTo>
                <a:cubicBezTo>
                  <a:pt x="263" y="42"/>
                  <a:pt x="259" y="44"/>
                  <a:pt x="256" y="48"/>
                </a:cubicBezTo>
                <a:cubicBezTo>
                  <a:pt x="253" y="51"/>
                  <a:pt x="251" y="57"/>
                  <a:pt x="251" y="64"/>
                </a:cubicBezTo>
                <a:cubicBezTo>
                  <a:pt x="251" y="70"/>
                  <a:pt x="253" y="75"/>
                  <a:pt x="256" y="79"/>
                </a:cubicBezTo>
                <a:cubicBezTo>
                  <a:pt x="259" y="83"/>
                  <a:pt x="264" y="85"/>
                  <a:pt x="269" y="85"/>
                </a:cubicBezTo>
                <a:cubicBezTo>
                  <a:pt x="275" y="85"/>
                  <a:pt x="279" y="83"/>
                  <a:pt x="282" y="79"/>
                </a:cubicBezTo>
                <a:cubicBezTo>
                  <a:pt x="285" y="76"/>
                  <a:pt x="286" y="70"/>
                  <a:pt x="286" y="63"/>
                </a:cubicBezTo>
                <a:moveTo>
                  <a:pt x="293" y="39"/>
                </a:moveTo>
                <a:cubicBezTo>
                  <a:pt x="298" y="45"/>
                  <a:pt x="301" y="53"/>
                  <a:pt x="301" y="63"/>
                </a:cubicBezTo>
                <a:cubicBezTo>
                  <a:pt x="301" y="73"/>
                  <a:pt x="298" y="81"/>
                  <a:pt x="292" y="87"/>
                </a:cubicBezTo>
                <a:cubicBezTo>
                  <a:pt x="286" y="93"/>
                  <a:pt x="278" y="96"/>
                  <a:pt x="268" y="96"/>
                </a:cubicBezTo>
                <a:cubicBezTo>
                  <a:pt x="259" y="96"/>
                  <a:pt x="251" y="93"/>
                  <a:pt x="245" y="87"/>
                </a:cubicBezTo>
                <a:cubicBezTo>
                  <a:pt x="239" y="81"/>
                  <a:pt x="237" y="74"/>
                  <a:pt x="237" y="64"/>
                </a:cubicBezTo>
                <a:cubicBezTo>
                  <a:pt x="237" y="53"/>
                  <a:pt x="240" y="45"/>
                  <a:pt x="246" y="39"/>
                </a:cubicBezTo>
                <a:cubicBezTo>
                  <a:pt x="252" y="33"/>
                  <a:pt x="260" y="30"/>
                  <a:pt x="270" y="30"/>
                </a:cubicBezTo>
                <a:cubicBezTo>
                  <a:pt x="280" y="30"/>
                  <a:pt x="287" y="33"/>
                  <a:pt x="293" y="39"/>
                </a:cubicBezTo>
                <a:moveTo>
                  <a:pt x="216" y="35"/>
                </a:moveTo>
                <a:cubicBezTo>
                  <a:pt x="213" y="37"/>
                  <a:pt x="211" y="40"/>
                  <a:pt x="210" y="45"/>
                </a:cubicBezTo>
                <a:cubicBezTo>
                  <a:pt x="210" y="45"/>
                  <a:pt x="210" y="45"/>
                  <a:pt x="210" y="45"/>
                </a:cubicBezTo>
                <a:cubicBezTo>
                  <a:pt x="210" y="32"/>
                  <a:pt x="210" y="32"/>
                  <a:pt x="210" y="32"/>
                </a:cubicBezTo>
                <a:cubicBezTo>
                  <a:pt x="195" y="32"/>
                  <a:pt x="195" y="32"/>
                  <a:pt x="195" y="32"/>
                </a:cubicBezTo>
                <a:cubicBezTo>
                  <a:pt x="195" y="95"/>
                  <a:pt x="195" y="95"/>
                  <a:pt x="195" y="95"/>
                </a:cubicBezTo>
                <a:cubicBezTo>
                  <a:pt x="210" y="95"/>
                  <a:pt x="210" y="95"/>
                  <a:pt x="210" y="95"/>
                </a:cubicBezTo>
                <a:cubicBezTo>
                  <a:pt x="210" y="65"/>
                  <a:pt x="210" y="65"/>
                  <a:pt x="210" y="65"/>
                </a:cubicBezTo>
                <a:cubicBezTo>
                  <a:pt x="210" y="58"/>
                  <a:pt x="211" y="53"/>
                  <a:pt x="214" y="49"/>
                </a:cubicBezTo>
                <a:cubicBezTo>
                  <a:pt x="217" y="45"/>
                  <a:pt x="220" y="43"/>
                  <a:pt x="224" y="43"/>
                </a:cubicBezTo>
                <a:cubicBezTo>
                  <a:pt x="227" y="43"/>
                  <a:pt x="230" y="44"/>
                  <a:pt x="232" y="45"/>
                </a:cubicBezTo>
                <a:cubicBezTo>
                  <a:pt x="232" y="32"/>
                  <a:pt x="232" y="32"/>
                  <a:pt x="232" y="32"/>
                </a:cubicBezTo>
                <a:cubicBezTo>
                  <a:pt x="230" y="31"/>
                  <a:pt x="228" y="31"/>
                  <a:pt x="226" y="31"/>
                </a:cubicBezTo>
                <a:cubicBezTo>
                  <a:pt x="222" y="31"/>
                  <a:pt x="219" y="32"/>
                  <a:pt x="216" y="35"/>
                </a:cubicBezTo>
                <a:moveTo>
                  <a:pt x="143" y="40"/>
                </a:moveTo>
                <a:cubicBezTo>
                  <a:pt x="137" y="46"/>
                  <a:pt x="133" y="54"/>
                  <a:pt x="133" y="65"/>
                </a:cubicBezTo>
                <a:cubicBezTo>
                  <a:pt x="133" y="74"/>
                  <a:pt x="136" y="82"/>
                  <a:pt x="142" y="87"/>
                </a:cubicBezTo>
                <a:cubicBezTo>
                  <a:pt x="148" y="93"/>
                  <a:pt x="155" y="96"/>
                  <a:pt x="165" y="96"/>
                </a:cubicBezTo>
                <a:cubicBezTo>
                  <a:pt x="171" y="96"/>
                  <a:pt x="177" y="95"/>
                  <a:pt x="182" y="92"/>
                </a:cubicBezTo>
                <a:cubicBezTo>
                  <a:pt x="182" y="79"/>
                  <a:pt x="182" y="79"/>
                  <a:pt x="182" y="79"/>
                </a:cubicBezTo>
                <a:cubicBezTo>
                  <a:pt x="178" y="83"/>
                  <a:pt x="173" y="85"/>
                  <a:pt x="168" y="85"/>
                </a:cubicBezTo>
                <a:cubicBezTo>
                  <a:pt x="162" y="85"/>
                  <a:pt x="157" y="83"/>
                  <a:pt x="153" y="79"/>
                </a:cubicBezTo>
                <a:cubicBezTo>
                  <a:pt x="150" y="75"/>
                  <a:pt x="148" y="70"/>
                  <a:pt x="148" y="64"/>
                </a:cubicBezTo>
                <a:cubicBezTo>
                  <a:pt x="148" y="57"/>
                  <a:pt x="150" y="52"/>
                  <a:pt x="154" y="48"/>
                </a:cubicBezTo>
                <a:cubicBezTo>
                  <a:pt x="158" y="44"/>
                  <a:pt x="162" y="42"/>
                  <a:pt x="168" y="42"/>
                </a:cubicBezTo>
                <a:cubicBezTo>
                  <a:pt x="173" y="42"/>
                  <a:pt x="178" y="43"/>
                  <a:pt x="182" y="47"/>
                </a:cubicBezTo>
                <a:cubicBezTo>
                  <a:pt x="182" y="33"/>
                  <a:pt x="182" y="33"/>
                  <a:pt x="182" y="33"/>
                </a:cubicBezTo>
                <a:cubicBezTo>
                  <a:pt x="178" y="31"/>
                  <a:pt x="173" y="30"/>
                  <a:pt x="167" y="30"/>
                </a:cubicBezTo>
                <a:cubicBezTo>
                  <a:pt x="157" y="30"/>
                  <a:pt x="149" y="34"/>
                  <a:pt x="143" y="40"/>
                </a:cubicBezTo>
                <a:moveTo>
                  <a:pt x="108" y="95"/>
                </a:moveTo>
                <a:cubicBezTo>
                  <a:pt x="123" y="95"/>
                  <a:pt x="123" y="95"/>
                  <a:pt x="123" y="95"/>
                </a:cubicBezTo>
                <a:cubicBezTo>
                  <a:pt x="123" y="32"/>
                  <a:pt x="123" y="32"/>
                  <a:pt x="123" y="32"/>
                </a:cubicBezTo>
                <a:cubicBezTo>
                  <a:pt x="108" y="32"/>
                  <a:pt x="108" y="32"/>
                  <a:pt x="108" y="32"/>
                </a:cubicBezTo>
                <a:lnTo>
                  <a:pt x="108" y="95"/>
                </a:lnTo>
                <a:close/>
                <a:moveTo>
                  <a:pt x="116" y="3"/>
                </a:moveTo>
                <a:cubicBezTo>
                  <a:pt x="113" y="3"/>
                  <a:pt x="111" y="3"/>
                  <a:pt x="110" y="5"/>
                </a:cubicBezTo>
                <a:cubicBezTo>
                  <a:pt x="108" y="7"/>
                  <a:pt x="107" y="8"/>
                  <a:pt x="107" y="11"/>
                </a:cubicBezTo>
                <a:cubicBezTo>
                  <a:pt x="107" y="13"/>
                  <a:pt x="108" y="15"/>
                  <a:pt x="110" y="17"/>
                </a:cubicBezTo>
                <a:cubicBezTo>
                  <a:pt x="111" y="18"/>
                  <a:pt x="113" y="19"/>
                  <a:pt x="116" y="19"/>
                </a:cubicBezTo>
                <a:cubicBezTo>
                  <a:pt x="118" y="19"/>
                  <a:pt x="120" y="18"/>
                  <a:pt x="122" y="16"/>
                </a:cubicBezTo>
                <a:cubicBezTo>
                  <a:pt x="123" y="15"/>
                  <a:pt x="124" y="13"/>
                  <a:pt x="124" y="11"/>
                </a:cubicBezTo>
                <a:cubicBezTo>
                  <a:pt x="124" y="8"/>
                  <a:pt x="123" y="7"/>
                  <a:pt x="122" y="5"/>
                </a:cubicBezTo>
                <a:cubicBezTo>
                  <a:pt x="120" y="3"/>
                  <a:pt x="118" y="3"/>
                  <a:pt x="116" y="3"/>
                </a:cubicBezTo>
                <a:moveTo>
                  <a:pt x="75" y="7"/>
                </a:moveTo>
                <a:cubicBezTo>
                  <a:pt x="95" y="7"/>
                  <a:pt x="95" y="7"/>
                  <a:pt x="95" y="7"/>
                </a:cubicBezTo>
                <a:cubicBezTo>
                  <a:pt x="95" y="95"/>
                  <a:pt x="95" y="95"/>
                  <a:pt x="95" y="95"/>
                </a:cubicBezTo>
                <a:cubicBezTo>
                  <a:pt x="80" y="95"/>
                  <a:pt x="80" y="95"/>
                  <a:pt x="80" y="95"/>
                </a:cubicBezTo>
                <a:cubicBezTo>
                  <a:pt x="80" y="38"/>
                  <a:pt x="80" y="38"/>
                  <a:pt x="80" y="38"/>
                </a:cubicBezTo>
                <a:cubicBezTo>
                  <a:pt x="80" y="33"/>
                  <a:pt x="80" y="27"/>
                  <a:pt x="81" y="21"/>
                </a:cubicBezTo>
                <a:cubicBezTo>
                  <a:pt x="81" y="21"/>
                  <a:pt x="81" y="21"/>
                  <a:pt x="81" y="21"/>
                </a:cubicBezTo>
                <a:cubicBezTo>
                  <a:pt x="80" y="25"/>
                  <a:pt x="79" y="27"/>
                  <a:pt x="78" y="29"/>
                </a:cubicBezTo>
                <a:cubicBezTo>
                  <a:pt x="52" y="95"/>
                  <a:pt x="52" y="95"/>
                  <a:pt x="52" y="95"/>
                </a:cubicBezTo>
                <a:cubicBezTo>
                  <a:pt x="42" y="95"/>
                  <a:pt x="42" y="95"/>
                  <a:pt x="42" y="95"/>
                </a:cubicBezTo>
                <a:cubicBezTo>
                  <a:pt x="16" y="29"/>
                  <a:pt x="16" y="29"/>
                  <a:pt x="16" y="29"/>
                </a:cubicBezTo>
                <a:cubicBezTo>
                  <a:pt x="15" y="28"/>
                  <a:pt x="14" y="25"/>
                  <a:pt x="14" y="21"/>
                </a:cubicBezTo>
                <a:cubicBezTo>
                  <a:pt x="13" y="21"/>
                  <a:pt x="13" y="21"/>
                  <a:pt x="13" y="21"/>
                </a:cubicBezTo>
                <a:cubicBezTo>
                  <a:pt x="14" y="24"/>
                  <a:pt x="14" y="30"/>
                  <a:pt x="14" y="38"/>
                </a:cubicBezTo>
                <a:cubicBezTo>
                  <a:pt x="14" y="95"/>
                  <a:pt x="14" y="95"/>
                  <a:pt x="14" y="95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7"/>
                  <a:pt x="0" y="7"/>
                  <a:pt x="0" y="7"/>
                </a:cubicBezTo>
                <a:cubicBezTo>
                  <a:pt x="21" y="7"/>
                  <a:pt x="21" y="7"/>
                  <a:pt x="21" y="7"/>
                </a:cubicBezTo>
                <a:cubicBezTo>
                  <a:pt x="44" y="65"/>
                  <a:pt x="44" y="65"/>
                  <a:pt x="44" y="65"/>
                </a:cubicBezTo>
                <a:cubicBezTo>
                  <a:pt x="46" y="70"/>
                  <a:pt x="47" y="73"/>
                  <a:pt x="47" y="75"/>
                </a:cubicBezTo>
                <a:cubicBezTo>
                  <a:pt x="48" y="75"/>
                  <a:pt x="48" y="75"/>
                  <a:pt x="48" y="75"/>
                </a:cubicBezTo>
                <a:cubicBezTo>
                  <a:pt x="49" y="71"/>
                  <a:pt x="50" y="67"/>
                  <a:pt x="51" y="65"/>
                </a:cubicBezTo>
                <a:lnTo>
                  <a:pt x="75" y="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CC73F7E-519C-4D23-B871-7FD985D67D4D}"/>
              </a:ext>
            </a:extLst>
          </p:cNvPr>
          <p:cNvSpPr/>
          <p:nvPr userDrawn="1"/>
        </p:nvSpPr>
        <p:spPr>
          <a:xfrm>
            <a:off x="584201" y="3977148"/>
            <a:ext cx="3550972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3246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n-ea"/>
                <a:cs typeface="Segoe UI Semilight" panose="020B0402040204020203" pitchFamily="34" charset="0"/>
              </a:rPr>
              <a:t>May 7–9, 2018   //   Seattle, W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700149D-DBA5-49F4-9EA0-6801AFB758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11" r="20173" b="58603"/>
          <a:stretch/>
        </p:blipFill>
        <p:spPr>
          <a:xfrm>
            <a:off x="2255246" y="0"/>
            <a:ext cx="993675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5876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8435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1" y="585788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6675120" cy="553998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3599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Presentation title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2"/>
            <a:ext cx="667512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9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020681-E031-438A-87F4-3EF4E311C2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75DB46-DA06-45E4-B8E6-78FFA7D83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91723" y="5961263"/>
            <a:ext cx="3017520" cy="307777"/>
          </a:xfrm>
        </p:spPr>
        <p:txBody>
          <a:bodyPr anchor="b"/>
          <a:lstStyle>
            <a:lvl1pPr marL="0" indent="0" algn="r">
              <a:buFont typeface="Arial" panose="020B0604020202020204" pitchFamily="34" charset="0"/>
              <a:buNone/>
              <a:defRPr sz="1999">
                <a:latin typeface="+mn-lt"/>
              </a:defRPr>
            </a:lvl1pPr>
            <a:lvl2pPr marL="228531" indent="0">
              <a:buNone/>
              <a:defRPr/>
            </a:lvl2pPr>
          </a:lstStyle>
          <a:p>
            <a:pPr lvl="0"/>
            <a:r>
              <a:rPr lang="en-US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18886958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1"/>
            <a:ext cx="11018520" cy="1612493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531" indent="0">
              <a:buNone/>
              <a:defRPr/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23876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1" y="1435498"/>
            <a:ext cx="11018520" cy="161249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293906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799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11" indent="0">
              <a:buFont typeface="Wingdings" panose="05000000000000000000" pitchFamily="2" charset="2"/>
              <a:buNone/>
              <a:defRPr sz="1999" b="0"/>
            </a:lvl2pPr>
            <a:lvl3pPr marL="450715" indent="0">
              <a:buFont typeface="Wingdings" panose="05000000000000000000" pitchFamily="2" charset="2"/>
              <a:buNone/>
              <a:tabLst/>
              <a:defRPr sz="1600" b="0"/>
            </a:lvl3pPr>
            <a:lvl4pPr marL="652266" indent="0">
              <a:buFont typeface="Wingdings" panose="05000000000000000000" pitchFamily="2" charset="2"/>
              <a:buNone/>
              <a:defRPr sz="1400" b="0"/>
            </a:lvl4pPr>
            <a:lvl5pPr marL="853819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2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799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11" indent="0">
              <a:buFont typeface="Wingdings" panose="05000000000000000000" pitchFamily="2" charset="2"/>
              <a:buNone/>
              <a:defRPr sz="1999" b="0"/>
            </a:lvl2pPr>
            <a:lvl3pPr marL="450715" indent="0">
              <a:buFont typeface="Wingdings" panose="05000000000000000000" pitchFamily="2" charset="2"/>
              <a:buNone/>
              <a:tabLst/>
              <a:defRPr sz="1600" b="0"/>
            </a:lvl3pPr>
            <a:lvl4pPr marL="652266" indent="0">
              <a:buFont typeface="Wingdings" panose="05000000000000000000" pitchFamily="2" charset="2"/>
              <a:buNone/>
              <a:defRPr sz="1400" b="0"/>
            </a:lvl4pPr>
            <a:lvl5pPr marL="853819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00751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1" y="1437481"/>
            <a:ext cx="5212080" cy="1649682"/>
          </a:xfrm>
        </p:spPr>
        <p:txBody>
          <a:bodyPr wrap="square">
            <a:spAutoFit/>
          </a:bodyPr>
          <a:lstStyle>
            <a:lvl1pPr marL="231705" indent="-23170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799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6910" indent="-171399">
              <a:buFont typeface="Wingdings" panose="05000000000000000000" pitchFamily="2" charset="2"/>
              <a:buChar char=""/>
              <a:defRPr sz="1999" b="0"/>
            </a:lvl2pPr>
            <a:lvl3pPr marL="639571" indent="-188856">
              <a:buFont typeface="Wingdings" panose="05000000000000000000" pitchFamily="2" charset="2"/>
              <a:buChar char=""/>
              <a:tabLst/>
              <a:defRPr sz="1600" b="0"/>
            </a:lvl3pPr>
            <a:lvl4pPr marL="828426" indent="-176160">
              <a:buFont typeface="Wingdings" panose="05000000000000000000" pitchFamily="2" charset="2"/>
              <a:buChar char=""/>
              <a:defRPr sz="1400" b="0"/>
            </a:lvl4pPr>
            <a:lvl5pPr marL="1023631" indent="-169812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5" y="1437481"/>
            <a:ext cx="5212080" cy="1649682"/>
          </a:xfrm>
        </p:spPr>
        <p:txBody>
          <a:bodyPr wrap="square">
            <a:spAutoFit/>
          </a:bodyPr>
          <a:lstStyle>
            <a:lvl1pPr marL="231705" indent="-23170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799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6910" indent="-171399">
              <a:buFont typeface="Wingdings" panose="05000000000000000000" pitchFamily="2" charset="2"/>
              <a:buChar char=""/>
              <a:defRPr sz="1999" b="0"/>
            </a:lvl2pPr>
            <a:lvl3pPr marL="639571" indent="-188856">
              <a:buFont typeface="Wingdings" panose="05000000000000000000" pitchFamily="2" charset="2"/>
              <a:buChar char=""/>
              <a:tabLst/>
              <a:defRPr sz="1600" b="0"/>
            </a:lvl3pPr>
            <a:lvl4pPr marL="828426" indent="-176160">
              <a:buFont typeface="Wingdings" panose="05000000000000000000" pitchFamily="2" charset="2"/>
              <a:buChar char=""/>
              <a:defRPr sz="1400" b="0"/>
            </a:lvl4pPr>
            <a:lvl5pPr marL="1023631" indent="-169812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06275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4622671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050944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1" y="457200"/>
            <a:ext cx="5508419" cy="372410"/>
          </a:xfrm>
        </p:spPr>
        <p:txBody>
          <a:bodyPr tIns="64008"/>
          <a:lstStyle>
            <a:lvl1pPr>
              <a:defRPr sz="1999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745231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 (dark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1" y="457200"/>
            <a:ext cx="5508419" cy="372410"/>
          </a:xfrm>
        </p:spPr>
        <p:txBody>
          <a:bodyPr tIns="64008"/>
          <a:lstStyle>
            <a:lvl1pPr>
              <a:defRPr sz="1999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12976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599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1" y="3535543"/>
            <a:ext cx="4162425" cy="307777"/>
          </a:xfrm>
        </p:spPr>
        <p:txBody>
          <a:bodyPr/>
          <a:lstStyle>
            <a:lvl1pPr marL="0" indent="0">
              <a:buNone/>
              <a:defRPr sz="1999">
                <a:latin typeface="+mn-lt"/>
              </a:defRPr>
            </a:lvl1pPr>
            <a:lvl2pPr marL="228531" indent="0">
              <a:buNone/>
              <a:defRPr/>
            </a:lvl2pPr>
            <a:lvl3pPr marL="457063" indent="0">
              <a:buNone/>
              <a:defRPr/>
            </a:lvl3pPr>
            <a:lvl4pPr marL="661789" indent="0">
              <a:buNone/>
              <a:defRPr/>
            </a:lvl4pPr>
            <a:lvl5pPr marL="85540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8301829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9448800" y="64928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defTabSz="914225">
              <a:defRPr/>
            </a:pPr>
            <a:fld id="{A34B8C21-472C-43AD-8B9F-5964D09AB204}" type="slidenum">
              <a:rPr lang="en-IN" smtClean="0">
                <a:solidFill>
                  <a:srgbClr val="505050"/>
                </a:solidFill>
                <a:latin typeface="Segoe UI"/>
              </a:rPr>
              <a:pPr defTabSz="914225">
                <a:defRPr/>
              </a:pPr>
              <a:t>‹#›</a:t>
            </a:fld>
            <a:endParaRPr lang="en-IN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400">
                <a:solidFill>
                  <a:srgbClr val="00B29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4023601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6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599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4363868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799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17801545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46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9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21"/>
            <a:ext cx="667512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071028E-16C3-4002-B04C-173B0E47CA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9963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46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9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21"/>
            <a:ext cx="667512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61C388-D05E-4BD1-8D7C-196F5BE5DA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6424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46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9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CE48BC3-17FF-42D3-9B26-17258F2E57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3456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46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9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3FAF49-2747-46DC-BE92-CD844B707A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178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46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9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163473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46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9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0775041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74281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99548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C9E3F1-5A51-4B35-B9B4-F383093688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3216" y="289513"/>
            <a:ext cx="6421864" cy="899665"/>
          </a:xfrm>
        </p:spPr>
        <p:txBody>
          <a:bodyPr/>
          <a:lstStyle>
            <a:lvl1pPr>
              <a:defRPr lang="en-US" sz="3529" b="0" kern="1200" cap="none" spc="-1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602D8466-407C-4220-B6A8-8C189F42E00B}"/>
              </a:ext>
            </a:extLst>
          </p:cNvPr>
          <p:cNvSpPr>
            <a:spLocks noGrp="1"/>
          </p:cNvSpPr>
          <p:nvPr userDrawn="1">
            <p:ph type="pic" sz="quarter" idx="10"/>
          </p:nvPr>
        </p:nvSpPr>
        <p:spPr>
          <a:xfrm>
            <a:off x="1" y="0"/>
            <a:ext cx="5302440" cy="673454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82284D3-DBDC-495E-984E-DA902FB7BB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3217" y="1661166"/>
            <a:ext cx="6421863" cy="817794"/>
          </a:xfrm>
        </p:spPr>
        <p:txBody>
          <a:bodyPr/>
          <a:lstStyle>
            <a:lvl1pPr marL="0" indent="0">
              <a:spcBef>
                <a:spcPts val="1765"/>
              </a:spcBef>
              <a:spcAft>
                <a:spcPts val="588"/>
              </a:spcAft>
              <a:buNone/>
              <a:defRPr sz="196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Aft>
                <a:spcPts val="588"/>
              </a:spcAft>
              <a:buNone/>
              <a:defRPr lang="en-US" sz="1568" kern="1200" spc="88" baseline="0" dirty="0" smtClean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defRPr>
            </a:lvl2pPr>
            <a:lvl3pPr>
              <a:defRPr sz="1176"/>
            </a:lvl3pPr>
            <a:lvl4pPr>
              <a:defRPr sz="1078"/>
            </a:lvl4pPr>
            <a:lvl5pPr>
              <a:defRPr sz="107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48161163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4" y="1436690"/>
            <a:ext cx="11018520" cy="1908215"/>
          </a:xfrm>
        </p:spPr>
        <p:txBody>
          <a:bodyPr/>
          <a:lstStyle>
            <a:lvl1pPr marL="0" indent="0">
              <a:buNone/>
              <a:defRPr sz="2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390952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1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01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1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1897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1" y="1436690"/>
            <a:ext cx="11018838" cy="2215991"/>
          </a:xfrm>
        </p:spPr>
        <p:txBody>
          <a:bodyPr>
            <a:spAutoFit/>
          </a:bodyPr>
          <a:lstStyle>
            <a:lvl1pPr>
              <a:defRPr sz="3599">
                <a:latin typeface="+mn-lt"/>
              </a:defRPr>
            </a:lvl1pPr>
            <a:lvl2pPr>
              <a:defRPr sz="2799">
                <a:latin typeface="+mn-lt"/>
              </a:defRPr>
            </a:lvl2pPr>
            <a:lvl3pPr>
              <a:defRPr sz="2399">
                <a:latin typeface="+mn-lt"/>
              </a:defRPr>
            </a:lvl3pPr>
            <a:lvl4pPr>
              <a:defRPr sz="1999">
                <a:latin typeface="+mn-lt"/>
              </a:defRPr>
            </a:lvl4pPr>
            <a:lvl5pPr>
              <a:defRPr sz="1799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40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4471924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4"/>
            <a:ext cx="11653523" cy="1270797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52299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4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60895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8" y="495121"/>
            <a:ext cx="11653523" cy="510461"/>
          </a:xfrm>
          <a:prstGeom prst="rect">
            <a:avLst/>
          </a:prstGeom>
        </p:spPr>
        <p:txBody>
          <a:bodyPr lIns="146304" tIns="91440" rIns="146304" bIns="91440" anchor="ctr"/>
          <a:lstStyle>
            <a:lvl1pPr marL="0" algn="ctr" defTabSz="913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352" b="0" kern="1200" cap="all" spc="800" baseline="0" dirty="0">
                <a:ln w="3175">
                  <a:noFill/>
                </a:ln>
                <a:solidFill>
                  <a:srgbClr val="0078D7"/>
                </a:solidFill>
                <a:effectLst/>
                <a:latin typeface="Segoe UI Light" charset="0"/>
                <a:ea typeface="+mn-ea"/>
                <a:cs typeface="Segoe UI Light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0184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9"/>
            <a:ext cx="11653523" cy="1605248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0"/>
            </a:lvl2pPr>
            <a:lvl3pPr marL="223987" indent="0">
              <a:buNone/>
              <a:defRPr/>
            </a:lvl3pPr>
            <a:lvl4pPr marL="447973" indent="0">
              <a:buNone/>
              <a:defRPr/>
            </a:lvl4pPr>
            <a:lvl5pPr marL="67195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2980159"/>
      </p:ext>
    </p:extLst>
  </p:cSld>
  <p:clrMapOvr>
    <a:masterClrMapping/>
  </p:clrMapOvr>
  <p:transition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Editab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4" y="470067"/>
            <a:ext cx="1423303" cy="30482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56C9DEE-6F0F-4952-B2B1-A47AFA7F3DE1}"/>
              </a:ext>
            </a:extLst>
          </p:cNvPr>
          <p:cNvSpPr txBox="1"/>
          <p:nvPr userDrawn="1"/>
        </p:nvSpPr>
        <p:spPr>
          <a:xfrm>
            <a:off x="221374" y="2626222"/>
            <a:ext cx="5692890" cy="1023000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icrosoft Ready t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CD16D0-030B-4E01-8C7E-8FA7B612BB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28510" y="1841199"/>
            <a:ext cx="6274975" cy="1028808"/>
          </a:xfrm>
        </p:spPr>
        <p:txBody>
          <a:bodyPr lIns="182880" tIns="146304" rIns="182880" bIns="146304"/>
          <a:lstStyle>
            <a:lvl1pPr marL="0" indent="0">
              <a:buNone/>
              <a:defRPr sz="5295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EA71668-2A88-4115-853E-BEC05FB59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28510" y="4198125"/>
            <a:ext cx="6274975" cy="1028808"/>
          </a:xfrm>
        </p:spPr>
        <p:txBody>
          <a:bodyPr lIns="182880" tIns="146304" rIns="182880" bIns="146304"/>
          <a:lstStyle>
            <a:lvl1pPr marL="0" indent="0">
              <a:buNone/>
              <a:defRPr sz="5295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202097" y="3412174"/>
            <a:ext cx="5661415" cy="102300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6AE5335-01B3-4932-AE7C-C7409C947F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28510" y="3412172"/>
            <a:ext cx="6274975" cy="1028808"/>
          </a:xfrm>
        </p:spPr>
        <p:txBody>
          <a:bodyPr lIns="182880" tIns="146304" rIns="182880" bIns="146304"/>
          <a:lstStyle>
            <a:lvl1pPr marL="0" indent="0">
              <a:buNone/>
              <a:defRPr sz="5295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5628511" y="2626222"/>
            <a:ext cx="5536180" cy="1023000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keep transforming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8D9541E-22DB-4D52-8181-A1AA5720B347}"/>
              </a:ext>
            </a:extLst>
          </p:cNvPr>
          <p:cNvSpPr txBox="1"/>
          <p:nvPr userDrawn="1"/>
        </p:nvSpPr>
        <p:spPr>
          <a:xfrm>
            <a:off x="202097" y="1055247"/>
            <a:ext cx="5661415" cy="102300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15DD86FF-CF8D-4D5A-97BA-7526A8303C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28510" y="1055245"/>
            <a:ext cx="6274975" cy="1028808"/>
          </a:xfrm>
        </p:spPr>
        <p:txBody>
          <a:bodyPr lIns="182880" tIns="146304" rIns="182880" bIns="146304"/>
          <a:lstStyle>
            <a:lvl1pPr marL="0" indent="0">
              <a:buNone/>
              <a:defRPr sz="5295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1931529-E991-4DB3-B887-1383B877392A}"/>
              </a:ext>
            </a:extLst>
          </p:cNvPr>
          <p:cNvSpPr txBox="1"/>
          <p:nvPr userDrawn="1"/>
        </p:nvSpPr>
        <p:spPr>
          <a:xfrm>
            <a:off x="202097" y="1840270"/>
            <a:ext cx="5661415" cy="102300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6B98947-DEBB-40AF-8C56-C6A65155B05A}"/>
              </a:ext>
            </a:extLst>
          </p:cNvPr>
          <p:cNvSpPr txBox="1"/>
          <p:nvPr userDrawn="1"/>
        </p:nvSpPr>
        <p:spPr>
          <a:xfrm>
            <a:off x="202097" y="4198127"/>
            <a:ext cx="5661415" cy="102300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01AB3B0-9D9C-4DCF-AD0D-97258F1220DE}"/>
              </a:ext>
            </a:extLst>
          </p:cNvPr>
          <p:cNvGrpSpPr/>
          <p:nvPr userDrawn="1"/>
        </p:nvGrpSpPr>
        <p:grpSpPr>
          <a:xfrm>
            <a:off x="7342825" y="5999446"/>
            <a:ext cx="4637360" cy="621324"/>
            <a:chOff x="274638" y="4554931"/>
            <a:chExt cx="4730349" cy="633694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51D9E96-E652-43D7-AD1D-25CF06E38D9D}"/>
                </a:ext>
              </a:extLst>
            </p:cNvPr>
            <p:cNvSpPr txBox="1"/>
            <p:nvPr userDrawn="1"/>
          </p:nvSpPr>
          <p:spPr>
            <a:xfrm>
              <a:off x="274638" y="4554931"/>
              <a:ext cx="4730349" cy="63369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2353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eattle, WA	Jan 29–Feb 2, 2018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E10FA7F9-9C23-492E-BC3D-96F67220A1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159398" y="4685985"/>
              <a:ext cx="0" cy="365756"/>
            </a:xfrm>
            <a:prstGeom prst="line">
              <a:avLst/>
            </a:prstGeom>
            <a:ln w="1587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271094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Gener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4" y="470067"/>
            <a:ext cx="1423303" cy="304828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7342825" y="5999446"/>
            <a:ext cx="4637360" cy="621324"/>
            <a:chOff x="274638" y="4554931"/>
            <a:chExt cx="4730349" cy="633694"/>
          </a:xfrm>
        </p:grpSpPr>
        <p:sp>
          <p:nvSpPr>
            <p:cNvPr id="7" name="TextBox 6"/>
            <p:cNvSpPr txBox="1"/>
            <p:nvPr userDrawn="1"/>
          </p:nvSpPr>
          <p:spPr>
            <a:xfrm>
              <a:off x="274638" y="4554931"/>
              <a:ext cx="4730349" cy="63369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2353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eattle, WA	Jan 29–Feb 2, 2018</a:t>
              </a:r>
            </a:p>
          </p:txBody>
        </p:sp>
        <p:cxnSp>
          <p:nvCxnSpPr>
            <p:cNvPr id="10" name="Straight Connector 9"/>
            <p:cNvCxnSpPr>
              <a:cxnSpLocks/>
            </p:cNvCxnSpPr>
            <p:nvPr userDrawn="1"/>
          </p:nvCxnSpPr>
          <p:spPr>
            <a:xfrm>
              <a:off x="2159398" y="4685985"/>
              <a:ext cx="0" cy="365756"/>
            </a:xfrm>
            <a:prstGeom prst="line">
              <a:avLst/>
            </a:prstGeom>
            <a:ln w="1587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56C9DEE-6F0F-4952-B2B1-A47AFA7F3DE1}"/>
              </a:ext>
            </a:extLst>
          </p:cNvPr>
          <p:cNvSpPr txBox="1"/>
          <p:nvPr userDrawn="1"/>
        </p:nvSpPr>
        <p:spPr>
          <a:xfrm>
            <a:off x="221374" y="2626222"/>
            <a:ext cx="11052947" cy="1023000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icrosoft Ready to keep transform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4927288" y="3412174"/>
            <a:ext cx="5661415" cy="102300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grow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4927288" y="4198127"/>
            <a:ext cx="5661415" cy="102300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succeed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1840270"/>
            <a:ext cx="2535359" cy="1023000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lear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A75F147-F187-406F-B1C7-8708AB3B7EBF}"/>
              </a:ext>
            </a:extLst>
          </p:cNvPr>
          <p:cNvSpPr txBox="1"/>
          <p:nvPr userDrawn="1"/>
        </p:nvSpPr>
        <p:spPr>
          <a:xfrm>
            <a:off x="4927288" y="1055247"/>
            <a:ext cx="2958167" cy="1023000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dream</a:t>
            </a:r>
          </a:p>
        </p:txBody>
      </p:sp>
    </p:spTree>
    <p:extLst>
      <p:ext uri="{BB962C8B-B14F-4D97-AF65-F5344CB8AC3E}">
        <p14:creationId xmlns:p14="http://schemas.microsoft.com/office/powerpoint/2010/main" val="18922886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4" y="2084187"/>
            <a:ext cx="8964185" cy="1793091"/>
          </a:xfrm>
          <a:noFill/>
        </p:spPr>
        <p:txBody>
          <a:bodyPr lIns="146304" tIns="91440" rIns="146304" bIns="91440" anchor="t" anchorCtr="0"/>
          <a:lstStyle>
            <a:lvl1pPr>
              <a:defRPr sz="5295" spc="-99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4" y="470067"/>
            <a:ext cx="1423303" cy="304828"/>
          </a:xfrm>
          <a:prstGeom prst="rect">
            <a:avLst/>
          </a:prstGeom>
        </p:spPr>
      </p:pic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39677" y="288561"/>
            <a:ext cx="3585699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137" indent="0">
              <a:buNone/>
              <a:defRPr sz="1961"/>
            </a:lvl2pPr>
            <a:lvl3pPr marL="560227" indent="0">
              <a:buNone/>
              <a:defRPr sz="1961"/>
            </a:lvl3pPr>
            <a:lvl4pPr marL="784319" indent="0">
              <a:buNone/>
              <a:defRPr sz="1961"/>
            </a:lvl4pPr>
            <a:lvl5pPr marL="1008409" indent="0">
              <a:buNone/>
              <a:defRPr sz="1961"/>
            </a:lvl5pPr>
          </a:lstStyle>
          <a:p>
            <a:pPr lvl="0"/>
            <a:r>
              <a:rPr lang="en-US"/>
              <a:t>Session Code</a:t>
            </a:r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4" y="5997081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37" indent="0">
              <a:buNone/>
              <a:defRPr sz="1961"/>
            </a:lvl2pPr>
            <a:lvl3pPr marL="560227" indent="0">
              <a:buNone/>
              <a:defRPr sz="1961"/>
            </a:lvl3pPr>
            <a:lvl4pPr marL="784319" indent="0">
              <a:buNone/>
              <a:defRPr sz="1961"/>
            </a:lvl4pPr>
            <a:lvl5pPr marL="1008409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36564378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 rot="5400000">
            <a:off x="-1985377" y="1811203"/>
            <a:ext cx="6108339" cy="2485929"/>
            <a:chOff x="-32657" y="4691730"/>
            <a:chExt cx="6625100" cy="2804185"/>
          </a:xfrm>
        </p:grpSpPr>
        <p:sp>
          <p:nvSpPr>
            <p:cNvPr id="5" name="Freeform: Shape 4"/>
            <p:cNvSpPr/>
            <p:nvPr/>
          </p:nvSpPr>
          <p:spPr>
            <a:xfrm>
              <a:off x="-32657" y="4691730"/>
              <a:ext cx="6625100" cy="2687163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625100"/>
                <a:gd name="connsiteY0" fmla="*/ 1190184 h 2687163"/>
                <a:gd name="connsiteX1" fmla="*/ 765628 w 6625100"/>
                <a:gd name="connsiteY1" fmla="*/ 1865099 h 2687163"/>
                <a:gd name="connsiteX2" fmla="*/ 1531257 w 6625100"/>
                <a:gd name="connsiteY2" fmla="*/ 13 h 2687163"/>
                <a:gd name="connsiteX3" fmla="*/ 2140857 w 6625100"/>
                <a:gd name="connsiteY3" fmla="*/ 1897756 h 2687163"/>
                <a:gd name="connsiteX4" fmla="*/ 2804886 w 6625100"/>
                <a:gd name="connsiteY4" fmla="*/ 801927 h 2687163"/>
                <a:gd name="connsiteX5" fmla="*/ 3291114 w 6625100"/>
                <a:gd name="connsiteY5" fmla="*/ 1846956 h 2687163"/>
                <a:gd name="connsiteX6" fmla="*/ 3755571 w 6625100"/>
                <a:gd name="connsiteY6" fmla="*/ 1273641 h 2687163"/>
                <a:gd name="connsiteX7" fmla="*/ 4071257 w 6625100"/>
                <a:gd name="connsiteY7" fmla="*/ 1763499 h 2687163"/>
                <a:gd name="connsiteX8" fmla="*/ 4466771 w 6625100"/>
                <a:gd name="connsiteY8" fmla="*/ 399156 h 2687163"/>
                <a:gd name="connsiteX9" fmla="*/ 4858657 w 6625100"/>
                <a:gd name="connsiteY9" fmla="*/ 1357099 h 2687163"/>
                <a:gd name="connsiteX10" fmla="*/ 5148943 w 6625100"/>
                <a:gd name="connsiteY10" fmla="*/ 747499 h 2687163"/>
                <a:gd name="connsiteX11" fmla="*/ 5588000 w 6625100"/>
                <a:gd name="connsiteY11" fmla="*/ 1886870 h 2687163"/>
                <a:gd name="connsiteX12" fmla="*/ 6074228 w 6625100"/>
                <a:gd name="connsiteY12" fmla="*/ 928927 h 2687163"/>
                <a:gd name="connsiteX13" fmla="*/ 6625100 w 6625100"/>
                <a:gd name="connsiteY13" fmla="*/ 2687163 h 268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25100" h="2687163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1378" y="795545"/>
                    <a:pt x="6074228" y="928927"/>
                  </a:cubicBezTo>
                  <a:cubicBezTo>
                    <a:pt x="6247078" y="1062309"/>
                    <a:pt x="6476630" y="2043394"/>
                    <a:pt x="6625100" y="2687163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" name="Freeform: Shape 5"/>
            <p:cNvSpPr/>
            <p:nvPr/>
          </p:nvSpPr>
          <p:spPr>
            <a:xfrm>
              <a:off x="-32656" y="5183779"/>
              <a:ext cx="6586180" cy="221187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586180"/>
                <a:gd name="connsiteY0" fmla="*/ 1190184 h 2518602"/>
                <a:gd name="connsiteX1" fmla="*/ 765628 w 6586180"/>
                <a:gd name="connsiteY1" fmla="*/ 1865099 h 2518602"/>
                <a:gd name="connsiteX2" fmla="*/ 1531257 w 6586180"/>
                <a:gd name="connsiteY2" fmla="*/ 13 h 2518602"/>
                <a:gd name="connsiteX3" fmla="*/ 2140857 w 6586180"/>
                <a:gd name="connsiteY3" fmla="*/ 1897756 h 2518602"/>
                <a:gd name="connsiteX4" fmla="*/ 2804886 w 6586180"/>
                <a:gd name="connsiteY4" fmla="*/ 801927 h 2518602"/>
                <a:gd name="connsiteX5" fmla="*/ 3291114 w 6586180"/>
                <a:gd name="connsiteY5" fmla="*/ 1846956 h 2518602"/>
                <a:gd name="connsiteX6" fmla="*/ 3755571 w 6586180"/>
                <a:gd name="connsiteY6" fmla="*/ 1273641 h 2518602"/>
                <a:gd name="connsiteX7" fmla="*/ 4071257 w 6586180"/>
                <a:gd name="connsiteY7" fmla="*/ 1763499 h 2518602"/>
                <a:gd name="connsiteX8" fmla="*/ 4466771 w 6586180"/>
                <a:gd name="connsiteY8" fmla="*/ 399156 h 2518602"/>
                <a:gd name="connsiteX9" fmla="*/ 4858657 w 6586180"/>
                <a:gd name="connsiteY9" fmla="*/ 1357099 h 2518602"/>
                <a:gd name="connsiteX10" fmla="*/ 5148943 w 6586180"/>
                <a:gd name="connsiteY10" fmla="*/ 747499 h 2518602"/>
                <a:gd name="connsiteX11" fmla="*/ 5588000 w 6586180"/>
                <a:gd name="connsiteY11" fmla="*/ 1886870 h 2518602"/>
                <a:gd name="connsiteX12" fmla="*/ 6074228 w 6586180"/>
                <a:gd name="connsiteY12" fmla="*/ 928927 h 2518602"/>
                <a:gd name="connsiteX13" fmla="*/ 6586180 w 6586180"/>
                <a:gd name="connsiteY13" fmla="*/ 2518602 h 251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86180" h="2518602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7865" y="823638"/>
                    <a:pt x="6074228" y="928927"/>
                  </a:cubicBezTo>
                  <a:cubicBezTo>
                    <a:pt x="6240591" y="1034216"/>
                    <a:pt x="6437710" y="1874833"/>
                    <a:pt x="6586180" y="2518602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" name="Freeform: Shape 6"/>
            <p:cNvSpPr/>
            <p:nvPr/>
          </p:nvSpPr>
          <p:spPr>
            <a:xfrm>
              <a:off x="-32657" y="5939971"/>
              <a:ext cx="6527800" cy="147613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8" name="Freeform: Shape 7"/>
            <p:cNvSpPr/>
            <p:nvPr/>
          </p:nvSpPr>
          <p:spPr>
            <a:xfrm>
              <a:off x="-32657" y="6452313"/>
              <a:ext cx="6527800" cy="104360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9" name="Group 8"/>
          <p:cNvGrpSpPr/>
          <p:nvPr userDrawn="1"/>
        </p:nvGrpSpPr>
        <p:grpSpPr>
          <a:xfrm rot="5400000">
            <a:off x="1259186" y="-1691280"/>
            <a:ext cx="1150258" cy="4399565"/>
            <a:chOff x="1113971" y="3497757"/>
            <a:chExt cx="1150258" cy="3142530"/>
          </a:xfrm>
        </p:grpSpPr>
        <p:sp>
          <p:nvSpPr>
            <p:cNvPr id="10" name="Freeform: Shape 9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" name="Freeform: Shape 11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3" name="Freeform: Shape 12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: Shape 13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5" name="Group 14"/>
          <p:cNvGrpSpPr/>
          <p:nvPr userDrawn="1"/>
        </p:nvGrpSpPr>
        <p:grpSpPr>
          <a:xfrm>
            <a:off x="3897769" y="511147"/>
            <a:ext cx="274262" cy="274262"/>
            <a:chOff x="3766458" y="4912364"/>
            <a:chExt cx="468086" cy="468086"/>
          </a:xfrm>
        </p:grpSpPr>
        <p:sp>
          <p:nvSpPr>
            <p:cNvPr id="16" name="Oval 15"/>
            <p:cNvSpPr/>
            <p:nvPr/>
          </p:nvSpPr>
          <p:spPr>
            <a:xfrm>
              <a:off x="3766458" y="4912364"/>
              <a:ext cx="468086" cy="468086"/>
            </a:xfrm>
            <a:prstGeom prst="ellipse">
              <a:avLst/>
            </a:prstGeom>
            <a:noFill/>
            <a:ln w="19050">
              <a:solidFill>
                <a:schemeClr val="bg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Oval 16"/>
            <p:cNvSpPr/>
            <p:nvPr/>
          </p:nvSpPr>
          <p:spPr>
            <a:xfrm>
              <a:off x="3860079" y="5005985"/>
              <a:ext cx="280844" cy="280844"/>
            </a:xfrm>
            <a:prstGeom prst="ellipse">
              <a:avLst/>
            </a:prstGeom>
            <a:noFill/>
            <a:ln w="19050">
              <a:solidFill>
                <a:schemeClr val="bg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Oval 17"/>
            <p:cNvSpPr/>
            <p:nvPr/>
          </p:nvSpPr>
          <p:spPr>
            <a:xfrm>
              <a:off x="3959681" y="5105587"/>
              <a:ext cx="81640" cy="81640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9" name="Group 18"/>
          <p:cNvGrpSpPr/>
          <p:nvPr userDrawn="1"/>
        </p:nvGrpSpPr>
        <p:grpSpPr>
          <a:xfrm flipH="1">
            <a:off x="5387922" y="2675607"/>
            <a:ext cx="6879800" cy="3485708"/>
            <a:chOff x="2661557" y="1008743"/>
            <a:chExt cx="6025243" cy="1848757"/>
          </a:xfrm>
        </p:grpSpPr>
        <p:sp>
          <p:nvSpPr>
            <p:cNvPr id="20" name="Freeform: Shape 19"/>
            <p:cNvSpPr/>
            <p:nvPr/>
          </p:nvSpPr>
          <p:spPr>
            <a:xfrm>
              <a:off x="2661557" y="1008743"/>
              <a:ext cx="6025243" cy="12391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Freeform: Shape 20"/>
            <p:cNvSpPr/>
            <p:nvPr/>
          </p:nvSpPr>
          <p:spPr>
            <a:xfrm>
              <a:off x="2661557" y="1008743"/>
              <a:ext cx="6025243" cy="13915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: Shape 21"/>
            <p:cNvSpPr/>
            <p:nvPr/>
          </p:nvSpPr>
          <p:spPr>
            <a:xfrm>
              <a:off x="2661557" y="1008743"/>
              <a:ext cx="6025243" cy="15439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: Shape 22"/>
            <p:cNvSpPr/>
            <p:nvPr/>
          </p:nvSpPr>
          <p:spPr>
            <a:xfrm>
              <a:off x="2661557" y="1008743"/>
              <a:ext cx="6025243" cy="16963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: Shape 23"/>
            <p:cNvSpPr/>
            <p:nvPr/>
          </p:nvSpPr>
          <p:spPr>
            <a:xfrm>
              <a:off x="2661557" y="1008743"/>
              <a:ext cx="6025243" cy="18487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5" name="Group 24"/>
          <p:cNvGrpSpPr/>
          <p:nvPr userDrawn="1"/>
        </p:nvGrpSpPr>
        <p:grpSpPr>
          <a:xfrm>
            <a:off x="5161680" y="2470138"/>
            <a:ext cx="468086" cy="468086"/>
            <a:chOff x="3766458" y="4912364"/>
            <a:chExt cx="468086" cy="468086"/>
          </a:xfrm>
        </p:grpSpPr>
        <p:sp>
          <p:nvSpPr>
            <p:cNvPr id="26" name="Oval 25"/>
            <p:cNvSpPr/>
            <p:nvPr/>
          </p:nvSpPr>
          <p:spPr>
            <a:xfrm>
              <a:off x="3766458" y="4912364"/>
              <a:ext cx="468086" cy="468086"/>
            </a:xfrm>
            <a:prstGeom prst="ellipse">
              <a:avLst/>
            </a:prstGeom>
            <a:noFill/>
            <a:ln w="28575">
              <a:solidFill>
                <a:schemeClr val="bg1">
                  <a:alpha val="7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3860079" y="5005985"/>
              <a:ext cx="280844" cy="280844"/>
            </a:xfrm>
            <a:prstGeom prst="ellipse">
              <a:avLst/>
            </a:prstGeom>
            <a:noFill/>
            <a:ln w="28575">
              <a:solidFill>
                <a:schemeClr val="bg1">
                  <a:alpha val="7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3959681" y="5105587"/>
              <a:ext cx="81640" cy="81640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9" name="Group 28"/>
          <p:cNvGrpSpPr/>
          <p:nvPr userDrawn="1"/>
        </p:nvGrpSpPr>
        <p:grpSpPr>
          <a:xfrm rot="19175348" flipH="1">
            <a:off x="4554593" y="364683"/>
            <a:ext cx="3645245" cy="1320522"/>
            <a:chOff x="5347225" y="-195944"/>
            <a:chExt cx="3320143" cy="727076"/>
          </a:xfrm>
        </p:grpSpPr>
        <p:sp>
          <p:nvSpPr>
            <p:cNvPr id="30" name="Freeform: Shape 29"/>
            <p:cNvSpPr/>
            <p:nvPr/>
          </p:nvSpPr>
          <p:spPr>
            <a:xfrm flipV="1">
              <a:off x="5347225" y="261256"/>
              <a:ext cx="3320143" cy="2698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1" name="Freeform: Shape 30"/>
            <p:cNvSpPr/>
            <p:nvPr/>
          </p:nvSpPr>
          <p:spPr>
            <a:xfrm flipV="1">
              <a:off x="5347225" y="108856"/>
              <a:ext cx="3320143" cy="4222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2" name="Freeform: Shape 31"/>
            <p:cNvSpPr/>
            <p:nvPr/>
          </p:nvSpPr>
          <p:spPr>
            <a:xfrm flipV="1">
              <a:off x="5347225" y="-43544"/>
              <a:ext cx="3320143" cy="5746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3" name="Freeform: Shape 32"/>
            <p:cNvSpPr/>
            <p:nvPr/>
          </p:nvSpPr>
          <p:spPr>
            <a:xfrm flipV="1">
              <a:off x="5347225" y="-195944"/>
              <a:ext cx="3320143" cy="7270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34" name="Oval 33"/>
          <p:cNvSpPr/>
          <p:nvPr userDrawn="1"/>
        </p:nvSpPr>
        <p:spPr>
          <a:xfrm>
            <a:off x="1879902" y="5994991"/>
            <a:ext cx="79452" cy="79452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5" name="Oval 34"/>
          <p:cNvSpPr/>
          <p:nvPr userDrawn="1"/>
        </p:nvSpPr>
        <p:spPr>
          <a:xfrm>
            <a:off x="6371462" y="5806091"/>
            <a:ext cx="79452" cy="79452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6" name="Oval 35"/>
          <p:cNvSpPr/>
          <p:nvPr userDrawn="1"/>
        </p:nvSpPr>
        <p:spPr>
          <a:xfrm>
            <a:off x="1836477" y="3344498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7" name="Oval 36"/>
          <p:cNvSpPr/>
          <p:nvPr userDrawn="1"/>
        </p:nvSpPr>
        <p:spPr>
          <a:xfrm>
            <a:off x="871870" y="6104512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8" name="Oval 37"/>
          <p:cNvSpPr/>
          <p:nvPr userDrawn="1"/>
        </p:nvSpPr>
        <p:spPr>
          <a:xfrm>
            <a:off x="1381204" y="3209302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9" name="Oval 38"/>
          <p:cNvSpPr/>
          <p:nvPr userDrawn="1"/>
        </p:nvSpPr>
        <p:spPr>
          <a:xfrm>
            <a:off x="1577329" y="738421"/>
            <a:ext cx="69136" cy="69136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0" name="Oval 39"/>
          <p:cNvSpPr/>
          <p:nvPr userDrawn="1"/>
        </p:nvSpPr>
        <p:spPr>
          <a:xfrm>
            <a:off x="1049170" y="6443419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1791000" y="2788039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3048816" y="2896666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43" name="Group 42"/>
          <p:cNvGrpSpPr/>
          <p:nvPr userDrawn="1"/>
        </p:nvGrpSpPr>
        <p:grpSpPr>
          <a:xfrm rot="5400000">
            <a:off x="-2095598" y="1716892"/>
            <a:ext cx="5147155" cy="1686894"/>
            <a:chOff x="-32657" y="4691730"/>
            <a:chExt cx="6625100" cy="2804185"/>
          </a:xfrm>
        </p:grpSpPr>
        <p:sp>
          <p:nvSpPr>
            <p:cNvPr id="44" name="Freeform: Shape 43"/>
            <p:cNvSpPr/>
            <p:nvPr/>
          </p:nvSpPr>
          <p:spPr>
            <a:xfrm>
              <a:off x="-32657" y="4691730"/>
              <a:ext cx="6625100" cy="2687163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625100"/>
                <a:gd name="connsiteY0" fmla="*/ 1190184 h 2687163"/>
                <a:gd name="connsiteX1" fmla="*/ 765628 w 6625100"/>
                <a:gd name="connsiteY1" fmla="*/ 1865099 h 2687163"/>
                <a:gd name="connsiteX2" fmla="*/ 1531257 w 6625100"/>
                <a:gd name="connsiteY2" fmla="*/ 13 h 2687163"/>
                <a:gd name="connsiteX3" fmla="*/ 2140857 w 6625100"/>
                <a:gd name="connsiteY3" fmla="*/ 1897756 h 2687163"/>
                <a:gd name="connsiteX4" fmla="*/ 2804886 w 6625100"/>
                <a:gd name="connsiteY4" fmla="*/ 801927 h 2687163"/>
                <a:gd name="connsiteX5" fmla="*/ 3291114 w 6625100"/>
                <a:gd name="connsiteY5" fmla="*/ 1846956 h 2687163"/>
                <a:gd name="connsiteX6" fmla="*/ 3755571 w 6625100"/>
                <a:gd name="connsiteY6" fmla="*/ 1273641 h 2687163"/>
                <a:gd name="connsiteX7" fmla="*/ 4071257 w 6625100"/>
                <a:gd name="connsiteY7" fmla="*/ 1763499 h 2687163"/>
                <a:gd name="connsiteX8" fmla="*/ 4466771 w 6625100"/>
                <a:gd name="connsiteY8" fmla="*/ 399156 h 2687163"/>
                <a:gd name="connsiteX9" fmla="*/ 4858657 w 6625100"/>
                <a:gd name="connsiteY9" fmla="*/ 1357099 h 2687163"/>
                <a:gd name="connsiteX10" fmla="*/ 5148943 w 6625100"/>
                <a:gd name="connsiteY10" fmla="*/ 747499 h 2687163"/>
                <a:gd name="connsiteX11" fmla="*/ 5588000 w 6625100"/>
                <a:gd name="connsiteY11" fmla="*/ 1886870 h 2687163"/>
                <a:gd name="connsiteX12" fmla="*/ 6074228 w 6625100"/>
                <a:gd name="connsiteY12" fmla="*/ 928927 h 2687163"/>
                <a:gd name="connsiteX13" fmla="*/ 6625100 w 6625100"/>
                <a:gd name="connsiteY13" fmla="*/ 2687163 h 268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25100" h="2687163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1378" y="795545"/>
                    <a:pt x="6074228" y="928927"/>
                  </a:cubicBezTo>
                  <a:cubicBezTo>
                    <a:pt x="6247078" y="1062309"/>
                    <a:pt x="6476630" y="2043394"/>
                    <a:pt x="6625100" y="2687163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-32656" y="5183779"/>
              <a:ext cx="6586180" cy="221187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586180"/>
                <a:gd name="connsiteY0" fmla="*/ 1190184 h 2518602"/>
                <a:gd name="connsiteX1" fmla="*/ 765628 w 6586180"/>
                <a:gd name="connsiteY1" fmla="*/ 1865099 h 2518602"/>
                <a:gd name="connsiteX2" fmla="*/ 1531257 w 6586180"/>
                <a:gd name="connsiteY2" fmla="*/ 13 h 2518602"/>
                <a:gd name="connsiteX3" fmla="*/ 2140857 w 6586180"/>
                <a:gd name="connsiteY3" fmla="*/ 1897756 h 2518602"/>
                <a:gd name="connsiteX4" fmla="*/ 2804886 w 6586180"/>
                <a:gd name="connsiteY4" fmla="*/ 801927 h 2518602"/>
                <a:gd name="connsiteX5" fmla="*/ 3291114 w 6586180"/>
                <a:gd name="connsiteY5" fmla="*/ 1846956 h 2518602"/>
                <a:gd name="connsiteX6" fmla="*/ 3755571 w 6586180"/>
                <a:gd name="connsiteY6" fmla="*/ 1273641 h 2518602"/>
                <a:gd name="connsiteX7" fmla="*/ 4071257 w 6586180"/>
                <a:gd name="connsiteY7" fmla="*/ 1763499 h 2518602"/>
                <a:gd name="connsiteX8" fmla="*/ 4466771 w 6586180"/>
                <a:gd name="connsiteY8" fmla="*/ 399156 h 2518602"/>
                <a:gd name="connsiteX9" fmla="*/ 4858657 w 6586180"/>
                <a:gd name="connsiteY9" fmla="*/ 1357099 h 2518602"/>
                <a:gd name="connsiteX10" fmla="*/ 5148943 w 6586180"/>
                <a:gd name="connsiteY10" fmla="*/ 747499 h 2518602"/>
                <a:gd name="connsiteX11" fmla="*/ 5588000 w 6586180"/>
                <a:gd name="connsiteY11" fmla="*/ 1886870 h 2518602"/>
                <a:gd name="connsiteX12" fmla="*/ 6074228 w 6586180"/>
                <a:gd name="connsiteY12" fmla="*/ 928927 h 2518602"/>
                <a:gd name="connsiteX13" fmla="*/ 6586180 w 6586180"/>
                <a:gd name="connsiteY13" fmla="*/ 2518602 h 251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86180" h="2518602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7865" y="823638"/>
                    <a:pt x="6074228" y="928927"/>
                  </a:cubicBezTo>
                  <a:cubicBezTo>
                    <a:pt x="6240591" y="1034216"/>
                    <a:pt x="6437710" y="1874833"/>
                    <a:pt x="6586180" y="2518602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-32657" y="5939971"/>
              <a:ext cx="6527800" cy="147613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-32657" y="6452313"/>
              <a:ext cx="6527800" cy="104360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48" name="Group 47"/>
          <p:cNvGrpSpPr/>
          <p:nvPr userDrawn="1"/>
        </p:nvGrpSpPr>
        <p:grpSpPr>
          <a:xfrm rot="4500000">
            <a:off x="733516" y="1543528"/>
            <a:ext cx="1392007" cy="3437532"/>
            <a:chOff x="1113971" y="3497757"/>
            <a:chExt cx="1150258" cy="3142530"/>
          </a:xfrm>
        </p:grpSpPr>
        <p:sp>
          <p:nvSpPr>
            <p:cNvPr id="49" name="Freeform: Shape 48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Group 52"/>
          <p:cNvGrpSpPr/>
          <p:nvPr userDrawn="1"/>
        </p:nvGrpSpPr>
        <p:grpSpPr>
          <a:xfrm rot="15300000" flipH="1">
            <a:off x="10722026" y="-306678"/>
            <a:ext cx="1590444" cy="2118297"/>
            <a:chOff x="1113971" y="3497757"/>
            <a:chExt cx="1150258" cy="3142530"/>
          </a:xfrm>
        </p:grpSpPr>
        <p:sp>
          <p:nvSpPr>
            <p:cNvPr id="54" name="Freeform: Shape 53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58" name="Oval 57"/>
          <p:cNvSpPr/>
          <p:nvPr userDrawn="1"/>
        </p:nvSpPr>
        <p:spPr>
          <a:xfrm>
            <a:off x="2214858" y="683335"/>
            <a:ext cx="69136" cy="69136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9" name="Oval 58"/>
          <p:cNvSpPr/>
          <p:nvPr userDrawn="1"/>
        </p:nvSpPr>
        <p:spPr>
          <a:xfrm>
            <a:off x="2648273" y="669742"/>
            <a:ext cx="51383" cy="5138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60" name="Group 59"/>
          <p:cNvGrpSpPr/>
          <p:nvPr userDrawn="1"/>
        </p:nvGrpSpPr>
        <p:grpSpPr>
          <a:xfrm>
            <a:off x="5756094" y="2301513"/>
            <a:ext cx="3899073" cy="1191791"/>
            <a:chOff x="5756093" y="2301512"/>
            <a:chExt cx="3899073" cy="1191791"/>
          </a:xfrm>
        </p:grpSpPr>
        <p:sp>
          <p:nvSpPr>
            <p:cNvPr id="61" name="Oval 60"/>
            <p:cNvSpPr/>
            <p:nvPr/>
          </p:nvSpPr>
          <p:spPr>
            <a:xfrm>
              <a:off x="8266386" y="2347545"/>
              <a:ext cx="254716" cy="254716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2" name="Oval 61"/>
            <p:cNvSpPr/>
            <p:nvPr/>
          </p:nvSpPr>
          <p:spPr>
            <a:xfrm>
              <a:off x="6326273" y="2776652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3" name="Oval 62"/>
            <p:cNvSpPr/>
            <p:nvPr/>
          </p:nvSpPr>
          <p:spPr>
            <a:xfrm>
              <a:off x="7275317" y="2569605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4" name="Oval 63"/>
            <p:cNvSpPr/>
            <p:nvPr/>
          </p:nvSpPr>
          <p:spPr>
            <a:xfrm>
              <a:off x="6676654" y="2855918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5" name="Oval 64"/>
            <p:cNvSpPr/>
            <p:nvPr/>
          </p:nvSpPr>
          <p:spPr>
            <a:xfrm>
              <a:off x="7021860" y="2762326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6" name="Oval 65"/>
            <p:cNvSpPr/>
            <p:nvPr/>
          </p:nvSpPr>
          <p:spPr>
            <a:xfrm>
              <a:off x="9150042" y="3113746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7" name="Oval 66"/>
            <p:cNvSpPr/>
            <p:nvPr/>
          </p:nvSpPr>
          <p:spPr>
            <a:xfrm>
              <a:off x="7521113" y="2409075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8" name="Oval 67"/>
            <p:cNvSpPr/>
            <p:nvPr/>
          </p:nvSpPr>
          <p:spPr>
            <a:xfrm>
              <a:off x="8821654" y="2895644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7911267" y="2301512"/>
              <a:ext cx="156013" cy="156013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8622432" y="2646039"/>
              <a:ext cx="156013" cy="156013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6046050" y="2698396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5756093" y="2768856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3" name="Oval 72"/>
            <p:cNvSpPr/>
            <p:nvPr/>
          </p:nvSpPr>
          <p:spPr>
            <a:xfrm>
              <a:off x="9364414" y="3258175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9609447" y="3447584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75" name="Group 74"/>
          <p:cNvGrpSpPr/>
          <p:nvPr userDrawn="1"/>
        </p:nvGrpSpPr>
        <p:grpSpPr>
          <a:xfrm rot="900000">
            <a:off x="9257656" y="2981059"/>
            <a:ext cx="3437832" cy="4758449"/>
            <a:chOff x="9385524" y="2790411"/>
            <a:chExt cx="3437832" cy="4758449"/>
          </a:xfrm>
        </p:grpSpPr>
        <p:sp>
          <p:nvSpPr>
            <p:cNvPr id="76" name="Freeform: Shape 75"/>
            <p:cNvSpPr/>
            <p:nvPr/>
          </p:nvSpPr>
          <p:spPr>
            <a:xfrm rot="1859816">
              <a:off x="9385524" y="2790411"/>
              <a:ext cx="2012192" cy="3930693"/>
            </a:xfrm>
            <a:custGeom>
              <a:avLst/>
              <a:gdLst>
                <a:gd name="connsiteX0" fmla="*/ 1226774 w 1394417"/>
                <a:gd name="connsiteY0" fmla="*/ 0 h 3497943"/>
                <a:gd name="connsiteX1" fmla="*/ 660717 w 1394417"/>
                <a:gd name="connsiteY1" fmla="*/ 254000 h 3497943"/>
                <a:gd name="connsiteX2" fmla="*/ 1299345 w 1394417"/>
                <a:gd name="connsiteY2" fmla="*/ 635000 h 3497943"/>
                <a:gd name="connsiteX3" fmla="*/ 317 w 1394417"/>
                <a:gd name="connsiteY3" fmla="*/ 1157514 h 3497943"/>
                <a:gd name="connsiteX4" fmla="*/ 1168717 w 1394417"/>
                <a:gd name="connsiteY4" fmla="*/ 2028371 h 3497943"/>
                <a:gd name="connsiteX5" fmla="*/ 504688 w 1394417"/>
                <a:gd name="connsiteY5" fmla="*/ 2630714 h 3497943"/>
                <a:gd name="connsiteX6" fmla="*/ 1379174 w 1394417"/>
                <a:gd name="connsiteY6" fmla="*/ 3066143 h 3497943"/>
                <a:gd name="connsiteX7" fmla="*/ 1081631 w 1394417"/>
                <a:gd name="connsiteY7" fmla="*/ 3334657 h 3497943"/>
                <a:gd name="connsiteX8" fmla="*/ 1357402 w 1394417"/>
                <a:gd name="connsiteY8" fmla="*/ 3497943 h 3497943"/>
                <a:gd name="connsiteX0" fmla="*/ 1406051 w 1406051"/>
                <a:gd name="connsiteY0" fmla="*/ 0 h 3542949"/>
                <a:gd name="connsiteX1" fmla="*/ 660717 w 1406051"/>
                <a:gd name="connsiteY1" fmla="*/ 299006 h 3542949"/>
                <a:gd name="connsiteX2" fmla="*/ 1299345 w 1406051"/>
                <a:gd name="connsiteY2" fmla="*/ 680006 h 3542949"/>
                <a:gd name="connsiteX3" fmla="*/ 317 w 1406051"/>
                <a:gd name="connsiteY3" fmla="*/ 1202520 h 3542949"/>
                <a:gd name="connsiteX4" fmla="*/ 1168717 w 1406051"/>
                <a:gd name="connsiteY4" fmla="*/ 2073377 h 3542949"/>
                <a:gd name="connsiteX5" fmla="*/ 504688 w 1406051"/>
                <a:gd name="connsiteY5" fmla="*/ 2675720 h 3542949"/>
                <a:gd name="connsiteX6" fmla="*/ 1379174 w 1406051"/>
                <a:gd name="connsiteY6" fmla="*/ 3111149 h 3542949"/>
                <a:gd name="connsiteX7" fmla="*/ 1081631 w 1406051"/>
                <a:gd name="connsiteY7" fmla="*/ 3379663 h 3542949"/>
                <a:gd name="connsiteX8" fmla="*/ 1357402 w 1406051"/>
                <a:gd name="connsiteY8" fmla="*/ 3542949 h 3542949"/>
                <a:gd name="connsiteX0" fmla="*/ 1406051 w 1442185"/>
                <a:gd name="connsiteY0" fmla="*/ 0 h 3633781"/>
                <a:gd name="connsiteX1" fmla="*/ 660717 w 1442185"/>
                <a:gd name="connsiteY1" fmla="*/ 299006 h 3633781"/>
                <a:gd name="connsiteX2" fmla="*/ 1299345 w 1442185"/>
                <a:gd name="connsiteY2" fmla="*/ 680006 h 3633781"/>
                <a:gd name="connsiteX3" fmla="*/ 317 w 1442185"/>
                <a:gd name="connsiteY3" fmla="*/ 1202520 h 3633781"/>
                <a:gd name="connsiteX4" fmla="*/ 1168717 w 1442185"/>
                <a:gd name="connsiteY4" fmla="*/ 2073377 h 3633781"/>
                <a:gd name="connsiteX5" fmla="*/ 504688 w 1442185"/>
                <a:gd name="connsiteY5" fmla="*/ 2675720 h 3633781"/>
                <a:gd name="connsiteX6" fmla="*/ 1379174 w 1442185"/>
                <a:gd name="connsiteY6" fmla="*/ 3111149 h 3633781"/>
                <a:gd name="connsiteX7" fmla="*/ 1081631 w 1442185"/>
                <a:gd name="connsiteY7" fmla="*/ 3379663 h 3633781"/>
                <a:gd name="connsiteX8" fmla="*/ 1442185 w 1442185"/>
                <a:gd name="connsiteY8" fmla="*/ 3633781 h 363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2185" h="3633781">
                  <a:moveTo>
                    <a:pt x="1406051" y="0"/>
                  </a:moveTo>
                  <a:cubicBezTo>
                    <a:pt x="1116975" y="74083"/>
                    <a:pt x="678501" y="185672"/>
                    <a:pt x="660717" y="299006"/>
                  </a:cubicBezTo>
                  <a:cubicBezTo>
                    <a:pt x="642933" y="412340"/>
                    <a:pt x="1409412" y="529420"/>
                    <a:pt x="1299345" y="680006"/>
                  </a:cubicBezTo>
                  <a:cubicBezTo>
                    <a:pt x="1189278" y="830592"/>
                    <a:pt x="22088" y="970292"/>
                    <a:pt x="317" y="1202520"/>
                  </a:cubicBezTo>
                  <a:cubicBezTo>
                    <a:pt x="-21454" y="1434748"/>
                    <a:pt x="1084655" y="1827844"/>
                    <a:pt x="1168717" y="2073377"/>
                  </a:cubicBezTo>
                  <a:cubicBezTo>
                    <a:pt x="1252779" y="2318910"/>
                    <a:pt x="469612" y="2502758"/>
                    <a:pt x="504688" y="2675720"/>
                  </a:cubicBezTo>
                  <a:cubicBezTo>
                    <a:pt x="539764" y="2848682"/>
                    <a:pt x="1283017" y="2993825"/>
                    <a:pt x="1379174" y="3111149"/>
                  </a:cubicBezTo>
                  <a:cubicBezTo>
                    <a:pt x="1475331" y="3228473"/>
                    <a:pt x="1071129" y="3292558"/>
                    <a:pt x="1081631" y="3379663"/>
                  </a:cubicBezTo>
                  <a:cubicBezTo>
                    <a:pt x="1092133" y="3466768"/>
                    <a:pt x="1302485" y="3588121"/>
                    <a:pt x="1442185" y="3633781"/>
                  </a:cubicBezTo>
                </a:path>
              </a:pathLst>
            </a:custGeom>
            <a:noFill/>
            <a:ln>
              <a:solidFill>
                <a:schemeClr val="bg1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grpSp>
          <p:nvGrpSpPr>
            <p:cNvPr id="77" name="Group 76"/>
            <p:cNvGrpSpPr/>
            <p:nvPr/>
          </p:nvGrpSpPr>
          <p:grpSpPr>
            <a:xfrm>
              <a:off x="9659552" y="2944459"/>
              <a:ext cx="3163804" cy="4604401"/>
              <a:chOff x="9659552" y="2944459"/>
              <a:chExt cx="3163804" cy="4604401"/>
            </a:xfrm>
          </p:grpSpPr>
          <p:sp>
            <p:nvSpPr>
              <p:cNvPr id="78" name="Oval 77"/>
              <p:cNvSpPr/>
              <p:nvPr/>
            </p:nvSpPr>
            <p:spPr>
              <a:xfrm>
                <a:off x="10823866" y="3987711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79" name="Group 78"/>
              <p:cNvGrpSpPr/>
              <p:nvPr/>
            </p:nvGrpSpPr>
            <p:grpSpPr>
              <a:xfrm>
                <a:off x="10171356" y="3779500"/>
                <a:ext cx="468086" cy="468086"/>
                <a:chOff x="3766458" y="4912364"/>
                <a:chExt cx="468086" cy="468086"/>
              </a:xfrm>
            </p:grpSpPr>
            <p:sp>
              <p:nvSpPr>
                <p:cNvPr id="103" name="Oval 102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4" name="Oval 103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5" name="Oval 104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7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80" name="Oval 79"/>
              <p:cNvSpPr/>
              <p:nvPr/>
            </p:nvSpPr>
            <p:spPr>
              <a:xfrm>
                <a:off x="11273865" y="4127326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1" name="Oval 80"/>
              <p:cNvSpPr/>
              <p:nvPr/>
            </p:nvSpPr>
            <p:spPr>
              <a:xfrm>
                <a:off x="10545821" y="4457906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2" name="Oval 81"/>
              <p:cNvSpPr/>
              <p:nvPr/>
            </p:nvSpPr>
            <p:spPr>
              <a:xfrm>
                <a:off x="10739111" y="4778511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3" name="Oval 82"/>
              <p:cNvSpPr/>
              <p:nvPr/>
            </p:nvSpPr>
            <p:spPr>
              <a:xfrm>
                <a:off x="10936920" y="5102324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4" name="Oval 83"/>
              <p:cNvSpPr/>
              <p:nvPr/>
            </p:nvSpPr>
            <p:spPr>
              <a:xfrm>
                <a:off x="11707992" y="426527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5" name="Oval 84"/>
              <p:cNvSpPr/>
              <p:nvPr/>
            </p:nvSpPr>
            <p:spPr>
              <a:xfrm>
                <a:off x="11957613" y="416105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6" name="Oval 85"/>
              <p:cNvSpPr/>
              <p:nvPr/>
            </p:nvSpPr>
            <p:spPr>
              <a:xfrm>
                <a:off x="11057753" y="5351715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7" name="Freeform: Shape 86"/>
              <p:cNvSpPr/>
              <p:nvPr/>
            </p:nvSpPr>
            <p:spPr>
              <a:xfrm rot="1859816">
                <a:off x="9942109" y="3114447"/>
                <a:ext cx="1657518" cy="3705100"/>
              </a:xfrm>
              <a:custGeom>
                <a:avLst/>
                <a:gdLst>
                  <a:gd name="connsiteX0" fmla="*/ 1226774 w 1394417"/>
                  <a:gd name="connsiteY0" fmla="*/ 0 h 3497943"/>
                  <a:gd name="connsiteX1" fmla="*/ 660717 w 1394417"/>
                  <a:gd name="connsiteY1" fmla="*/ 254000 h 3497943"/>
                  <a:gd name="connsiteX2" fmla="*/ 1299345 w 1394417"/>
                  <a:gd name="connsiteY2" fmla="*/ 635000 h 3497943"/>
                  <a:gd name="connsiteX3" fmla="*/ 317 w 1394417"/>
                  <a:gd name="connsiteY3" fmla="*/ 1157514 h 3497943"/>
                  <a:gd name="connsiteX4" fmla="*/ 1168717 w 1394417"/>
                  <a:gd name="connsiteY4" fmla="*/ 2028371 h 3497943"/>
                  <a:gd name="connsiteX5" fmla="*/ 504688 w 1394417"/>
                  <a:gd name="connsiteY5" fmla="*/ 2630714 h 3497943"/>
                  <a:gd name="connsiteX6" fmla="*/ 1379174 w 1394417"/>
                  <a:gd name="connsiteY6" fmla="*/ 3066143 h 3497943"/>
                  <a:gd name="connsiteX7" fmla="*/ 1081631 w 1394417"/>
                  <a:gd name="connsiteY7" fmla="*/ 3334657 h 3497943"/>
                  <a:gd name="connsiteX8" fmla="*/ 1357402 w 1394417"/>
                  <a:gd name="connsiteY8" fmla="*/ 3497943 h 3497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94417" h="3497943">
                    <a:moveTo>
                      <a:pt x="1226774" y="0"/>
                    </a:moveTo>
                    <a:cubicBezTo>
                      <a:pt x="937698" y="74083"/>
                      <a:pt x="648622" y="148167"/>
                      <a:pt x="660717" y="254000"/>
                    </a:cubicBezTo>
                    <a:cubicBezTo>
                      <a:pt x="672812" y="359833"/>
                      <a:pt x="1409412" y="484414"/>
                      <a:pt x="1299345" y="635000"/>
                    </a:cubicBezTo>
                    <a:cubicBezTo>
                      <a:pt x="1189278" y="785586"/>
                      <a:pt x="22088" y="925286"/>
                      <a:pt x="317" y="1157514"/>
                    </a:cubicBezTo>
                    <a:cubicBezTo>
                      <a:pt x="-21454" y="1389742"/>
                      <a:pt x="1084655" y="1782838"/>
                      <a:pt x="1168717" y="2028371"/>
                    </a:cubicBezTo>
                    <a:cubicBezTo>
                      <a:pt x="1252779" y="2273904"/>
                      <a:pt x="469612" y="2457752"/>
                      <a:pt x="504688" y="2630714"/>
                    </a:cubicBezTo>
                    <a:cubicBezTo>
                      <a:pt x="539764" y="2803676"/>
                      <a:pt x="1283017" y="2948819"/>
                      <a:pt x="1379174" y="3066143"/>
                    </a:cubicBezTo>
                    <a:cubicBezTo>
                      <a:pt x="1475331" y="3183467"/>
                      <a:pt x="1085260" y="3262690"/>
                      <a:pt x="1081631" y="3334657"/>
                    </a:cubicBezTo>
                    <a:cubicBezTo>
                      <a:pt x="1078002" y="3406624"/>
                      <a:pt x="1217702" y="3452283"/>
                      <a:pt x="1357402" y="349794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88" name="Group 87"/>
              <p:cNvGrpSpPr/>
              <p:nvPr/>
            </p:nvGrpSpPr>
            <p:grpSpPr>
              <a:xfrm>
                <a:off x="9659552" y="6255370"/>
                <a:ext cx="511804" cy="511804"/>
                <a:chOff x="3766458" y="4912364"/>
                <a:chExt cx="468086" cy="468086"/>
              </a:xfrm>
            </p:grpSpPr>
            <p:sp>
              <p:nvSpPr>
                <p:cNvPr id="100" name="Oval 99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1" name="Oval 100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2" name="Oval 101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6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89" name="Oval 88"/>
              <p:cNvSpPr/>
              <p:nvPr/>
            </p:nvSpPr>
            <p:spPr>
              <a:xfrm>
                <a:off x="10019476" y="3733781"/>
                <a:ext cx="45719" cy="45719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90" name="Group 89"/>
              <p:cNvGrpSpPr/>
              <p:nvPr/>
            </p:nvGrpSpPr>
            <p:grpSpPr>
              <a:xfrm rot="18900000" flipH="1">
                <a:off x="9997674" y="4364464"/>
                <a:ext cx="1590444" cy="3184396"/>
                <a:chOff x="1113971" y="3497757"/>
                <a:chExt cx="1150258" cy="3142530"/>
              </a:xfrm>
            </p:grpSpPr>
            <p:sp>
              <p:nvSpPr>
                <p:cNvPr id="96" name="Freeform: Shape 95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7" name="Freeform: Shape 96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8" name="Freeform: Shape 97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9" name="Freeform: Shape 98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91" name="Group 90"/>
              <p:cNvGrpSpPr/>
              <p:nvPr/>
            </p:nvGrpSpPr>
            <p:grpSpPr>
              <a:xfrm rot="7200000" flipH="1" flipV="1">
                <a:off x="10907040" y="2618587"/>
                <a:ext cx="1590444" cy="2242188"/>
                <a:chOff x="1113971" y="3497757"/>
                <a:chExt cx="1150258" cy="3142530"/>
              </a:xfrm>
            </p:grpSpPr>
            <p:sp>
              <p:nvSpPr>
                <p:cNvPr id="92" name="Freeform: Shape 91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3" name="Freeform: Shape 92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4" name="Freeform: Shape 93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5" name="Freeform: Shape 94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grpSp>
        <p:nvGrpSpPr>
          <p:cNvPr id="166" name="Group 165"/>
          <p:cNvGrpSpPr/>
          <p:nvPr userDrawn="1"/>
        </p:nvGrpSpPr>
        <p:grpSpPr>
          <a:xfrm rot="21444120" flipH="1">
            <a:off x="10234111" y="-501857"/>
            <a:ext cx="2326374" cy="4134470"/>
            <a:chOff x="-213066" y="2126266"/>
            <a:chExt cx="2326374" cy="4134470"/>
          </a:xfrm>
        </p:grpSpPr>
        <p:grpSp>
          <p:nvGrpSpPr>
            <p:cNvPr id="167" name="Group 166"/>
            <p:cNvGrpSpPr/>
            <p:nvPr/>
          </p:nvGrpSpPr>
          <p:grpSpPr>
            <a:xfrm rot="5400000">
              <a:off x="-1021470" y="3125958"/>
              <a:ext cx="4134470" cy="2135086"/>
              <a:chOff x="2108201" y="5087492"/>
              <a:chExt cx="4484244" cy="2408425"/>
            </a:xfrm>
          </p:grpSpPr>
          <p:sp>
            <p:nvSpPr>
              <p:cNvPr id="173" name="Freeform: Shape 172"/>
              <p:cNvSpPr/>
              <p:nvPr/>
            </p:nvSpPr>
            <p:spPr>
              <a:xfrm>
                <a:off x="2108202" y="5087492"/>
                <a:ext cx="4484243" cy="2291402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625100"/>
                  <a:gd name="connsiteY0" fmla="*/ 1190184 h 2687163"/>
                  <a:gd name="connsiteX1" fmla="*/ 765628 w 6625100"/>
                  <a:gd name="connsiteY1" fmla="*/ 1865099 h 2687163"/>
                  <a:gd name="connsiteX2" fmla="*/ 1531257 w 6625100"/>
                  <a:gd name="connsiteY2" fmla="*/ 13 h 2687163"/>
                  <a:gd name="connsiteX3" fmla="*/ 2140857 w 6625100"/>
                  <a:gd name="connsiteY3" fmla="*/ 1897756 h 2687163"/>
                  <a:gd name="connsiteX4" fmla="*/ 2804886 w 6625100"/>
                  <a:gd name="connsiteY4" fmla="*/ 801927 h 2687163"/>
                  <a:gd name="connsiteX5" fmla="*/ 3291114 w 6625100"/>
                  <a:gd name="connsiteY5" fmla="*/ 1846956 h 2687163"/>
                  <a:gd name="connsiteX6" fmla="*/ 3755571 w 6625100"/>
                  <a:gd name="connsiteY6" fmla="*/ 1273641 h 2687163"/>
                  <a:gd name="connsiteX7" fmla="*/ 4071257 w 6625100"/>
                  <a:gd name="connsiteY7" fmla="*/ 1763499 h 2687163"/>
                  <a:gd name="connsiteX8" fmla="*/ 4466771 w 6625100"/>
                  <a:gd name="connsiteY8" fmla="*/ 399156 h 2687163"/>
                  <a:gd name="connsiteX9" fmla="*/ 4858657 w 6625100"/>
                  <a:gd name="connsiteY9" fmla="*/ 1357099 h 2687163"/>
                  <a:gd name="connsiteX10" fmla="*/ 5148943 w 6625100"/>
                  <a:gd name="connsiteY10" fmla="*/ 747499 h 2687163"/>
                  <a:gd name="connsiteX11" fmla="*/ 5588000 w 6625100"/>
                  <a:gd name="connsiteY11" fmla="*/ 1886870 h 2687163"/>
                  <a:gd name="connsiteX12" fmla="*/ 6074228 w 6625100"/>
                  <a:gd name="connsiteY12" fmla="*/ 928927 h 2687163"/>
                  <a:gd name="connsiteX13" fmla="*/ 6625100 w 6625100"/>
                  <a:gd name="connsiteY13" fmla="*/ 2687163 h 2687163"/>
                  <a:gd name="connsiteX0" fmla="*/ 0 w 5859472"/>
                  <a:gd name="connsiteY0" fmla="*/ 1865099 h 2687163"/>
                  <a:gd name="connsiteX1" fmla="*/ 765629 w 5859472"/>
                  <a:gd name="connsiteY1" fmla="*/ 13 h 2687163"/>
                  <a:gd name="connsiteX2" fmla="*/ 1375229 w 5859472"/>
                  <a:gd name="connsiteY2" fmla="*/ 1897756 h 2687163"/>
                  <a:gd name="connsiteX3" fmla="*/ 2039258 w 5859472"/>
                  <a:gd name="connsiteY3" fmla="*/ 801927 h 2687163"/>
                  <a:gd name="connsiteX4" fmla="*/ 2525486 w 5859472"/>
                  <a:gd name="connsiteY4" fmla="*/ 1846956 h 2687163"/>
                  <a:gd name="connsiteX5" fmla="*/ 2989943 w 5859472"/>
                  <a:gd name="connsiteY5" fmla="*/ 1273641 h 2687163"/>
                  <a:gd name="connsiteX6" fmla="*/ 3305629 w 5859472"/>
                  <a:gd name="connsiteY6" fmla="*/ 1763499 h 2687163"/>
                  <a:gd name="connsiteX7" fmla="*/ 3701143 w 5859472"/>
                  <a:gd name="connsiteY7" fmla="*/ 399156 h 2687163"/>
                  <a:gd name="connsiteX8" fmla="*/ 4093029 w 5859472"/>
                  <a:gd name="connsiteY8" fmla="*/ 1357099 h 2687163"/>
                  <a:gd name="connsiteX9" fmla="*/ 4383315 w 5859472"/>
                  <a:gd name="connsiteY9" fmla="*/ 747499 h 2687163"/>
                  <a:gd name="connsiteX10" fmla="*/ 4822372 w 5859472"/>
                  <a:gd name="connsiteY10" fmla="*/ 1886870 h 2687163"/>
                  <a:gd name="connsiteX11" fmla="*/ 5308600 w 5859472"/>
                  <a:gd name="connsiteY11" fmla="*/ 928927 h 2687163"/>
                  <a:gd name="connsiteX12" fmla="*/ 5859472 w 5859472"/>
                  <a:gd name="connsiteY12" fmla="*/ 2687163 h 2687163"/>
                  <a:gd name="connsiteX0" fmla="*/ -1 w 5093842"/>
                  <a:gd name="connsiteY0" fmla="*/ -1 h 2687149"/>
                  <a:gd name="connsiteX1" fmla="*/ 609599 w 5093842"/>
                  <a:gd name="connsiteY1" fmla="*/ 1897742 h 2687149"/>
                  <a:gd name="connsiteX2" fmla="*/ 1273628 w 5093842"/>
                  <a:gd name="connsiteY2" fmla="*/ 801913 h 2687149"/>
                  <a:gd name="connsiteX3" fmla="*/ 1759856 w 5093842"/>
                  <a:gd name="connsiteY3" fmla="*/ 1846942 h 2687149"/>
                  <a:gd name="connsiteX4" fmla="*/ 2224313 w 5093842"/>
                  <a:gd name="connsiteY4" fmla="*/ 1273627 h 2687149"/>
                  <a:gd name="connsiteX5" fmla="*/ 2539999 w 5093842"/>
                  <a:gd name="connsiteY5" fmla="*/ 1763485 h 2687149"/>
                  <a:gd name="connsiteX6" fmla="*/ 2935513 w 5093842"/>
                  <a:gd name="connsiteY6" fmla="*/ 399142 h 2687149"/>
                  <a:gd name="connsiteX7" fmla="*/ 3327399 w 5093842"/>
                  <a:gd name="connsiteY7" fmla="*/ 1357085 h 2687149"/>
                  <a:gd name="connsiteX8" fmla="*/ 3617685 w 5093842"/>
                  <a:gd name="connsiteY8" fmla="*/ 747485 h 2687149"/>
                  <a:gd name="connsiteX9" fmla="*/ 4056742 w 5093842"/>
                  <a:gd name="connsiteY9" fmla="*/ 1886856 h 2687149"/>
                  <a:gd name="connsiteX10" fmla="*/ 4542970 w 5093842"/>
                  <a:gd name="connsiteY10" fmla="*/ 928913 h 2687149"/>
                  <a:gd name="connsiteX11" fmla="*/ 5093842 w 5093842"/>
                  <a:gd name="connsiteY11" fmla="*/ 2687149 h 2687149"/>
                  <a:gd name="connsiteX0" fmla="*/ 0 w 4484243"/>
                  <a:gd name="connsiteY0" fmla="*/ 1501995 h 2291402"/>
                  <a:gd name="connsiteX1" fmla="*/ 664029 w 4484243"/>
                  <a:gd name="connsiteY1" fmla="*/ 406166 h 2291402"/>
                  <a:gd name="connsiteX2" fmla="*/ 1150257 w 4484243"/>
                  <a:gd name="connsiteY2" fmla="*/ 1451195 h 2291402"/>
                  <a:gd name="connsiteX3" fmla="*/ 1614714 w 4484243"/>
                  <a:gd name="connsiteY3" fmla="*/ 877880 h 2291402"/>
                  <a:gd name="connsiteX4" fmla="*/ 1930400 w 4484243"/>
                  <a:gd name="connsiteY4" fmla="*/ 1367738 h 2291402"/>
                  <a:gd name="connsiteX5" fmla="*/ 2325914 w 4484243"/>
                  <a:gd name="connsiteY5" fmla="*/ 3395 h 2291402"/>
                  <a:gd name="connsiteX6" fmla="*/ 2717800 w 4484243"/>
                  <a:gd name="connsiteY6" fmla="*/ 961338 h 2291402"/>
                  <a:gd name="connsiteX7" fmla="*/ 3008086 w 4484243"/>
                  <a:gd name="connsiteY7" fmla="*/ 351738 h 2291402"/>
                  <a:gd name="connsiteX8" fmla="*/ 3447143 w 4484243"/>
                  <a:gd name="connsiteY8" fmla="*/ 1491109 h 2291402"/>
                  <a:gd name="connsiteX9" fmla="*/ 3933371 w 4484243"/>
                  <a:gd name="connsiteY9" fmla="*/ 533166 h 2291402"/>
                  <a:gd name="connsiteX10" fmla="*/ 4484243 w 4484243"/>
                  <a:gd name="connsiteY10" fmla="*/ 2291402 h 2291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84243" h="2291402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60521" y="399784"/>
                      <a:pt x="3933371" y="533166"/>
                    </a:cubicBezTo>
                    <a:cubicBezTo>
                      <a:pt x="4106221" y="666548"/>
                      <a:pt x="4335773" y="1647633"/>
                      <a:pt x="4484243" y="2291402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74" name="Freeform: Shape 173"/>
              <p:cNvSpPr/>
              <p:nvPr/>
            </p:nvSpPr>
            <p:spPr>
              <a:xfrm>
                <a:off x="2108202" y="5531345"/>
                <a:ext cx="4445322" cy="1864309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86180"/>
                  <a:gd name="connsiteY0" fmla="*/ 1190184 h 2518602"/>
                  <a:gd name="connsiteX1" fmla="*/ 765628 w 6586180"/>
                  <a:gd name="connsiteY1" fmla="*/ 1865099 h 2518602"/>
                  <a:gd name="connsiteX2" fmla="*/ 1531257 w 6586180"/>
                  <a:gd name="connsiteY2" fmla="*/ 13 h 2518602"/>
                  <a:gd name="connsiteX3" fmla="*/ 2140857 w 6586180"/>
                  <a:gd name="connsiteY3" fmla="*/ 1897756 h 2518602"/>
                  <a:gd name="connsiteX4" fmla="*/ 2804886 w 6586180"/>
                  <a:gd name="connsiteY4" fmla="*/ 801927 h 2518602"/>
                  <a:gd name="connsiteX5" fmla="*/ 3291114 w 6586180"/>
                  <a:gd name="connsiteY5" fmla="*/ 1846956 h 2518602"/>
                  <a:gd name="connsiteX6" fmla="*/ 3755571 w 6586180"/>
                  <a:gd name="connsiteY6" fmla="*/ 1273641 h 2518602"/>
                  <a:gd name="connsiteX7" fmla="*/ 4071257 w 6586180"/>
                  <a:gd name="connsiteY7" fmla="*/ 1763499 h 2518602"/>
                  <a:gd name="connsiteX8" fmla="*/ 4466771 w 6586180"/>
                  <a:gd name="connsiteY8" fmla="*/ 399156 h 2518602"/>
                  <a:gd name="connsiteX9" fmla="*/ 4858657 w 6586180"/>
                  <a:gd name="connsiteY9" fmla="*/ 1357099 h 2518602"/>
                  <a:gd name="connsiteX10" fmla="*/ 5148943 w 6586180"/>
                  <a:gd name="connsiteY10" fmla="*/ 747499 h 2518602"/>
                  <a:gd name="connsiteX11" fmla="*/ 5588000 w 6586180"/>
                  <a:gd name="connsiteY11" fmla="*/ 1886870 h 2518602"/>
                  <a:gd name="connsiteX12" fmla="*/ 6074228 w 6586180"/>
                  <a:gd name="connsiteY12" fmla="*/ 928927 h 2518602"/>
                  <a:gd name="connsiteX13" fmla="*/ 6586180 w 6586180"/>
                  <a:gd name="connsiteY13" fmla="*/ 2518602 h 2518602"/>
                  <a:gd name="connsiteX0" fmla="*/ 0 w 5820552"/>
                  <a:gd name="connsiteY0" fmla="*/ 1865099 h 2518602"/>
                  <a:gd name="connsiteX1" fmla="*/ 765629 w 5820552"/>
                  <a:gd name="connsiteY1" fmla="*/ 13 h 2518602"/>
                  <a:gd name="connsiteX2" fmla="*/ 1375229 w 5820552"/>
                  <a:gd name="connsiteY2" fmla="*/ 1897756 h 2518602"/>
                  <a:gd name="connsiteX3" fmla="*/ 2039258 w 5820552"/>
                  <a:gd name="connsiteY3" fmla="*/ 801927 h 2518602"/>
                  <a:gd name="connsiteX4" fmla="*/ 2525486 w 5820552"/>
                  <a:gd name="connsiteY4" fmla="*/ 1846956 h 2518602"/>
                  <a:gd name="connsiteX5" fmla="*/ 2989943 w 5820552"/>
                  <a:gd name="connsiteY5" fmla="*/ 1273641 h 2518602"/>
                  <a:gd name="connsiteX6" fmla="*/ 3305629 w 5820552"/>
                  <a:gd name="connsiteY6" fmla="*/ 1763499 h 2518602"/>
                  <a:gd name="connsiteX7" fmla="*/ 3701143 w 5820552"/>
                  <a:gd name="connsiteY7" fmla="*/ 399156 h 2518602"/>
                  <a:gd name="connsiteX8" fmla="*/ 4093029 w 5820552"/>
                  <a:gd name="connsiteY8" fmla="*/ 1357099 h 2518602"/>
                  <a:gd name="connsiteX9" fmla="*/ 4383315 w 5820552"/>
                  <a:gd name="connsiteY9" fmla="*/ 747499 h 2518602"/>
                  <a:gd name="connsiteX10" fmla="*/ 4822372 w 5820552"/>
                  <a:gd name="connsiteY10" fmla="*/ 1886870 h 2518602"/>
                  <a:gd name="connsiteX11" fmla="*/ 5308600 w 5820552"/>
                  <a:gd name="connsiteY11" fmla="*/ 928927 h 2518602"/>
                  <a:gd name="connsiteX12" fmla="*/ 5820552 w 5820552"/>
                  <a:gd name="connsiteY12" fmla="*/ 2518602 h 2518602"/>
                  <a:gd name="connsiteX0" fmla="*/ 0 w 5054923"/>
                  <a:gd name="connsiteY0" fmla="*/ 0 h 2518589"/>
                  <a:gd name="connsiteX1" fmla="*/ 609600 w 5054923"/>
                  <a:gd name="connsiteY1" fmla="*/ 1897743 h 2518589"/>
                  <a:gd name="connsiteX2" fmla="*/ 1273629 w 5054923"/>
                  <a:gd name="connsiteY2" fmla="*/ 801914 h 2518589"/>
                  <a:gd name="connsiteX3" fmla="*/ 1759857 w 5054923"/>
                  <a:gd name="connsiteY3" fmla="*/ 1846943 h 2518589"/>
                  <a:gd name="connsiteX4" fmla="*/ 2224314 w 5054923"/>
                  <a:gd name="connsiteY4" fmla="*/ 1273628 h 2518589"/>
                  <a:gd name="connsiteX5" fmla="*/ 2540000 w 5054923"/>
                  <a:gd name="connsiteY5" fmla="*/ 1763486 h 2518589"/>
                  <a:gd name="connsiteX6" fmla="*/ 2935514 w 5054923"/>
                  <a:gd name="connsiteY6" fmla="*/ 399143 h 2518589"/>
                  <a:gd name="connsiteX7" fmla="*/ 3327400 w 5054923"/>
                  <a:gd name="connsiteY7" fmla="*/ 1357086 h 2518589"/>
                  <a:gd name="connsiteX8" fmla="*/ 3617686 w 5054923"/>
                  <a:gd name="connsiteY8" fmla="*/ 747486 h 2518589"/>
                  <a:gd name="connsiteX9" fmla="*/ 4056743 w 5054923"/>
                  <a:gd name="connsiteY9" fmla="*/ 1886857 h 2518589"/>
                  <a:gd name="connsiteX10" fmla="*/ 4542971 w 5054923"/>
                  <a:gd name="connsiteY10" fmla="*/ 928914 h 2518589"/>
                  <a:gd name="connsiteX11" fmla="*/ 5054923 w 5054923"/>
                  <a:gd name="connsiteY11" fmla="*/ 2518589 h 2518589"/>
                  <a:gd name="connsiteX0" fmla="*/ 0 w 4445323"/>
                  <a:gd name="connsiteY0" fmla="*/ 1501995 h 2122841"/>
                  <a:gd name="connsiteX1" fmla="*/ 664029 w 4445323"/>
                  <a:gd name="connsiteY1" fmla="*/ 406166 h 2122841"/>
                  <a:gd name="connsiteX2" fmla="*/ 1150257 w 4445323"/>
                  <a:gd name="connsiteY2" fmla="*/ 1451195 h 2122841"/>
                  <a:gd name="connsiteX3" fmla="*/ 1614714 w 4445323"/>
                  <a:gd name="connsiteY3" fmla="*/ 877880 h 2122841"/>
                  <a:gd name="connsiteX4" fmla="*/ 1930400 w 4445323"/>
                  <a:gd name="connsiteY4" fmla="*/ 1367738 h 2122841"/>
                  <a:gd name="connsiteX5" fmla="*/ 2325914 w 4445323"/>
                  <a:gd name="connsiteY5" fmla="*/ 3395 h 2122841"/>
                  <a:gd name="connsiteX6" fmla="*/ 2717800 w 4445323"/>
                  <a:gd name="connsiteY6" fmla="*/ 961338 h 2122841"/>
                  <a:gd name="connsiteX7" fmla="*/ 3008086 w 4445323"/>
                  <a:gd name="connsiteY7" fmla="*/ 351738 h 2122841"/>
                  <a:gd name="connsiteX8" fmla="*/ 3447143 w 4445323"/>
                  <a:gd name="connsiteY8" fmla="*/ 1491109 h 2122841"/>
                  <a:gd name="connsiteX9" fmla="*/ 3933371 w 4445323"/>
                  <a:gd name="connsiteY9" fmla="*/ 533166 h 2122841"/>
                  <a:gd name="connsiteX10" fmla="*/ 4445323 w 4445323"/>
                  <a:gd name="connsiteY10" fmla="*/ 2122841 h 212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45323" h="2122841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67008" y="427877"/>
                      <a:pt x="3933371" y="533166"/>
                    </a:cubicBezTo>
                    <a:cubicBezTo>
                      <a:pt x="4099734" y="638455"/>
                      <a:pt x="4296853" y="1479072"/>
                      <a:pt x="4445323" y="2122841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75" name="Freeform: Shape 174"/>
              <p:cNvSpPr/>
              <p:nvPr/>
            </p:nvSpPr>
            <p:spPr>
              <a:xfrm>
                <a:off x="2108201" y="6195930"/>
                <a:ext cx="4386943" cy="1220173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0 w 4996543"/>
                  <a:gd name="connsiteY0" fmla="*/ 1 h 2282372"/>
                  <a:gd name="connsiteX1" fmla="*/ 609600 w 4996543"/>
                  <a:gd name="connsiteY1" fmla="*/ 1897744 h 2282372"/>
                  <a:gd name="connsiteX2" fmla="*/ 1273629 w 4996543"/>
                  <a:gd name="connsiteY2" fmla="*/ 801915 h 2282372"/>
                  <a:gd name="connsiteX3" fmla="*/ 1759857 w 4996543"/>
                  <a:gd name="connsiteY3" fmla="*/ 1846944 h 2282372"/>
                  <a:gd name="connsiteX4" fmla="*/ 2224314 w 4996543"/>
                  <a:gd name="connsiteY4" fmla="*/ 1273629 h 2282372"/>
                  <a:gd name="connsiteX5" fmla="*/ 2540000 w 4996543"/>
                  <a:gd name="connsiteY5" fmla="*/ 1763487 h 2282372"/>
                  <a:gd name="connsiteX6" fmla="*/ 2935514 w 4996543"/>
                  <a:gd name="connsiteY6" fmla="*/ 399144 h 2282372"/>
                  <a:gd name="connsiteX7" fmla="*/ 3327400 w 4996543"/>
                  <a:gd name="connsiteY7" fmla="*/ 1357087 h 2282372"/>
                  <a:gd name="connsiteX8" fmla="*/ 3617686 w 4996543"/>
                  <a:gd name="connsiteY8" fmla="*/ 747487 h 2282372"/>
                  <a:gd name="connsiteX9" fmla="*/ 4056743 w 4996543"/>
                  <a:gd name="connsiteY9" fmla="*/ 1886858 h 2282372"/>
                  <a:gd name="connsiteX10" fmla="*/ 4542971 w 4996543"/>
                  <a:gd name="connsiteY10" fmla="*/ 928915 h 2282372"/>
                  <a:gd name="connsiteX11" fmla="*/ 4996543 w 4996543"/>
                  <a:gd name="connsiteY11" fmla="*/ 2282372 h 2282372"/>
                  <a:gd name="connsiteX0" fmla="*/ 0 w 4386943"/>
                  <a:gd name="connsiteY0" fmla="*/ 1501995 h 1886623"/>
                  <a:gd name="connsiteX1" fmla="*/ 664029 w 4386943"/>
                  <a:gd name="connsiteY1" fmla="*/ 406166 h 1886623"/>
                  <a:gd name="connsiteX2" fmla="*/ 1150257 w 4386943"/>
                  <a:gd name="connsiteY2" fmla="*/ 1451195 h 1886623"/>
                  <a:gd name="connsiteX3" fmla="*/ 1614714 w 4386943"/>
                  <a:gd name="connsiteY3" fmla="*/ 877880 h 1886623"/>
                  <a:gd name="connsiteX4" fmla="*/ 1930400 w 4386943"/>
                  <a:gd name="connsiteY4" fmla="*/ 1367738 h 1886623"/>
                  <a:gd name="connsiteX5" fmla="*/ 2325914 w 4386943"/>
                  <a:gd name="connsiteY5" fmla="*/ 3395 h 1886623"/>
                  <a:gd name="connsiteX6" fmla="*/ 2717800 w 4386943"/>
                  <a:gd name="connsiteY6" fmla="*/ 961338 h 1886623"/>
                  <a:gd name="connsiteX7" fmla="*/ 3008086 w 4386943"/>
                  <a:gd name="connsiteY7" fmla="*/ 351738 h 1886623"/>
                  <a:gd name="connsiteX8" fmla="*/ 3447143 w 4386943"/>
                  <a:gd name="connsiteY8" fmla="*/ 1491109 h 1886623"/>
                  <a:gd name="connsiteX9" fmla="*/ 3933371 w 4386943"/>
                  <a:gd name="connsiteY9" fmla="*/ 533166 h 1886623"/>
                  <a:gd name="connsiteX10" fmla="*/ 4386943 w 4386943"/>
                  <a:gd name="connsiteY10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386943" h="1886623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76738" y="467247"/>
                      <a:pt x="3933371" y="533166"/>
                    </a:cubicBezTo>
                    <a:cubicBezTo>
                      <a:pt x="4090004" y="599085"/>
                      <a:pt x="4238473" y="1242854"/>
                      <a:pt x="4386943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76" name="Freeform: Shape 175"/>
              <p:cNvSpPr/>
              <p:nvPr/>
            </p:nvSpPr>
            <p:spPr>
              <a:xfrm>
                <a:off x="2108201" y="6633272"/>
                <a:ext cx="4386943" cy="862645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0 w 4996543"/>
                  <a:gd name="connsiteY0" fmla="*/ 1 h 2282372"/>
                  <a:gd name="connsiteX1" fmla="*/ 609600 w 4996543"/>
                  <a:gd name="connsiteY1" fmla="*/ 1897744 h 2282372"/>
                  <a:gd name="connsiteX2" fmla="*/ 1273629 w 4996543"/>
                  <a:gd name="connsiteY2" fmla="*/ 801915 h 2282372"/>
                  <a:gd name="connsiteX3" fmla="*/ 1759857 w 4996543"/>
                  <a:gd name="connsiteY3" fmla="*/ 1846944 h 2282372"/>
                  <a:gd name="connsiteX4" fmla="*/ 2224314 w 4996543"/>
                  <a:gd name="connsiteY4" fmla="*/ 1273629 h 2282372"/>
                  <a:gd name="connsiteX5" fmla="*/ 2540000 w 4996543"/>
                  <a:gd name="connsiteY5" fmla="*/ 1763487 h 2282372"/>
                  <a:gd name="connsiteX6" fmla="*/ 2935514 w 4996543"/>
                  <a:gd name="connsiteY6" fmla="*/ 399144 h 2282372"/>
                  <a:gd name="connsiteX7" fmla="*/ 3327400 w 4996543"/>
                  <a:gd name="connsiteY7" fmla="*/ 1357087 h 2282372"/>
                  <a:gd name="connsiteX8" fmla="*/ 3617686 w 4996543"/>
                  <a:gd name="connsiteY8" fmla="*/ 747487 h 2282372"/>
                  <a:gd name="connsiteX9" fmla="*/ 4056743 w 4996543"/>
                  <a:gd name="connsiteY9" fmla="*/ 1886858 h 2282372"/>
                  <a:gd name="connsiteX10" fmla="*/ 4542971 w 4996543"/>
                  <a:gd name="connsiteY10" fmla="*/ 928915 h 2282372"/>
                  <a:gd name="connsiteX11" fmla="*/ 4996543 w 4996543"/>
                  <a:gd name="connsiteY11" fmla="*/ 2282372 h 2282372"/>
                  <a:gd name="connsiteX0" fmla="*/ 0 w 4386943"/>
                  <a:gd name="connsiteY0" fmla="*/ 1501996 h 1886624"/>
                  <a:gd name="connsiteX1" fmla="*/ 664029 w 4386943"/>
                  <a:gd name="connsiteY1" fmla="*/ 406167 h 1886624"/>
                  <a:gd name="connsiteX2" fmla="*/ 1150257 w 4386943"/>
                  <a:gd name="connsiteY2" fmla="*/ 1451196 h 1886624"/>
                  <a:gd name="connsiteX3" fmla="*/ 1614714 w 4386943"/>
                  <a:gd name="connsiteY3" fmla="*/ 877881 h 1886624"/>
                  <a:gd name="connsiteX4" fmla="*/ 1930400 w 4386943"/>
                  <a:gd name="connsiteY4" fmla="*/ 1367739 h 1886624"/>
                  <a:gd name="connsiteX5" fmla="*/ 2325914 w 4386943"/>
                  <a:gd name="connsiteY5" fmla="*/ 3396 h 1886624"/>
                  <a:gd name="connsiteX6" fmla="*/ 2717800 w 4386943"/>
                  <a:gd name="connsiteY6" fmla="*/ 961339 h 1886624"/>
                  <a:gd name="connsiteX7" fmla="*/ 3008086 w 4386943"/>
                  <a:gd name="connsiteY7" fmla="*/ 351739 h 1886624"/>
                  <a:gd name="connsiteX8" fmla="*/ 3447143 w 4386943"/>
                  <a:gd name="connsiteY8" fmla="*/ 1491110 h 1886624"/>
                  <a:gd name="connsiteX9" fmla="*/ 3933371 w 4386943"/>
                  <a:gd name="connsiteY9" fmla="*/ 533167 h 1886624"/>
                  <a:gd name="connsiteX10" fmla="*/ 4386943 w 4386943"/>
                  <a:gd name="connsiteY10" fmla="*/ 1886624 h 1886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386943" h="1886624">
                    <a:moveTo>
                      <a:pt x="0" y="1501996"/>
                    </a:moveTo>
                    <a:cubicBezTo>
                      <a:pt x="212272" y="1635648"/>
                      <a:pt x="472320" y="414634"/>
                      <a:pt x="664029" y="406167"/>
                    </a:cubicBezTo>
                    <a:cubicBezTo>
                      <a:pt x="855738" y="397700"/>
                      <a:pt x="991810" y="1372577"/>
                      <a:pt x="1150257" y="1451196"/>
                    </a:cubicBezTo>
                    <a:cubicBezTo>
                      <a:pt x="1308704" y="1529815"/>
                      <a:pt x="1484690" y="891790"/>
                      <a:pt x="1614714" y="877881"/>
                    </a:cubicBezTo>
                    <a:cubicBezTo>
                      <a:pt x="1744738" y="863972"/>
                      <a:pt x="1811867" y="1513487"/>
                      <a:pt x="1930400" y="1367739"/>
                    </a:cubicBezTo>
                    <a:cubicBezTo>
                      <a:pt x="2048933" y="1221992"/>
                      <a:pt x="2194681" y="71129"/>
                      <a:pt x="2325914" y="3396"/>
                    </a:cubicBezTo>
                    <a:cubicBezTo>
                      <a:pt x="2457147" y="-64337"/>
                      <a:pt x="2604105" y="903282"/>
                      <a:pt x="2717800" y="961339"/>
                    </a:cubicBezTo>
                    <a:cubicBezTo>
                      <a:pt x="2831495" y="1019396"/>
                      <a:pt x="2886529" y="263444"/>
                      <a:pt x="3008086" y="351739"/>
                    </a:cubicBezTo>
                    <a:cubicBezTo>
                      <a:pt x="3129643" y="440034"/>
                      <a:pt x="3292929" y="1460872"/>
                      <a:pt x="3447143" y="1491110"/>
                    </a:cubicBezTo>
                    <a:cubicBezTo>
                      <a:pt x="3601357" y="1521348"/>
                      <a:pt x="3776738" y="467248"/>
                      <a:pt x="3933371" y="533167"/>
                    </a:cubicBezTo>
                    <a:cubicBezTo>
                      <a:pt x="4090004" y="599086"/>
                      <a:pt x="4238473" y="1242855"/>
                      <a:pt x="4386943" y="1886624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68" name="Group 167"/>
            <p:cNvGrpSpPr/>
            <p:nvPr/>
          </p:nvGrpSpPr>
          <p:grpSpPr>
            <a:xfrm rot="5400000">
              <a:off x="-972652" y="3077916"/>
              <a:ext cx="2967991" cy="1448820"/>
              <a:chOff x="2772230" y="5087490"/>
              <a:chExt cx="3820215" cy="2408427"/>
            </a:xfrm>
          </p:grpSpPr>
          <p:sp>
            <p:nvSpPr>
              <p:cNvPr id="169" name="Freeform: Shape 168"/>
              <p:cNvSpPr/>
              <p:nvPr/>
            </p:nvSpPr>
            <p:spPr>
              <a:xfrm>
                <a:off x="2772230" y="5087490"/>
                <a:ext cx="3820215" cy="2291400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625100"/>
                  <a:gd name="connsiteY0" fmla="*/ 1190184 h 2687163"/>
                  <a:gd name="connsiteX1" fmla="*/ 765628 w 6625100"/>
                  <a:gd name="connsiteY1" fmla="*/ 1865099 h 2687163"/>
                  <a:gd name="connsiteX2" fmla="*/ 1531257 w 6625100"/>
                  <a:gd name="connsiteY2" fmla="*/ 13 h 2687163"/>
                  <a:gd name="connsiteX3" fmla="*/ 2140857 w 6625100"/>
                  <a:gd name="connsiteY3" fmla="*/ 1897756 h 2687163"/>
                  <a:gd name="connsiteX4" fmla="*/ 2804886 w 6625100"/>
                  <a:gd name="connsiteY4" fmla="*/ 801927 h 2687163"/>
                  <a:gd name="connsiteX5" fmla="*/ 3291114 w 6625100"/>
                  <a:gd name="connsiteY5" fmla="*/ 1846956 h 2687163"/>
                  <a:gd name="connsiteX6" fmla="*/ 3755571 w 6625100"/>
                  <a:gd name="connsiteY6" fmla="*/ 1273641 h 2687163"/>
                  <a:gd name="connsiteX7" fmla="*/ 4071257 w 6625100"/>
                  <a:gd name="connsiteY7" fmla="*/ 1763499 h 2687163"/>
                  <a:gd name="connsiteX8" fmla="*/ 4466771 w 6625100"/>
                  <a:gd name="connsiteY8" fmla="*/ 399156 h 2687163"/>
                  <a:gd name="connsiteX9" fmla="*/ 4858657 w 6625100"/>
                  <a:gd name="connsiteY9" fmla="*/ 1357099 h 2687163"/>
                  <a:gd name="connsiteX10" fmla="*/ 5148943 w 6625100"/>
                  <a:gd name="connsiteY10" fmla="*/ 747499 h 2687163"/>
                  <a:gd name="connsiteX11" fmla="*/ 5588000 w 6625100"/>
                  <a:gd name="connsiteY11" fmla="*/ 1886870 h 2687163"/>
                  <a:gd name="connsiteX12" fmla="*/ 6074228 w 6625100"/>
                  <a:gd name="connsiteY12" fmla="*/ 928927 h 2687163"/>
                  <a:gd name="connsiteX13" fmla="*/ 6625100 w 6625100"/>
                  <a:gd name="connsiteY13" fmla="*/ 2687163 h 2687163"/>
                  <a:gd name="connsiteX0" fmla="*/ 0 w 5859472"/>
                  <a:gd name="connsiteY0" fmla="*/ 1865099 h 2687163"/>
                  <a:gd name="connsiteX1" fmla="*/ 765629 w 5859472"/>
                  <a:gd name="connsiteY1" fmla="*/ 13 h 2687163"/>
                  <a:gd name="connsiteX2" fmla="*/ 1375229 w 5859472"/>
                  <a:gd name="connsiteY2" fmla="*/ 1897756 h 2687163"/>
                  <a:gd name="connsiteX3" fmla="*/ 2039258 w 5859472"/>
                  <a:gd name="connsiteY3" fmla="*/ 801927 h 2687163"/>
                  <a:gd name="connsiteX4" fmla="*/ 2525486 w 5859472"/>
                  <a:gd name="connsiteY4" fmla="*/ 1846956 h 2687163"/>
                  <a:gd name="connsiteX5" fmla="*/ 2989943 w 5859472"/>
                  <a:gd name="connsiteY5" fmla="*/ 1273641 h 2687163"/>
                  <a:gd name="connsiteX6" fmla="*/ 3305629 w 5859472"/>
                  <a:gd name="connsiteY6" fmla="*/ 1763499 h 2687163"/>
                  <a:gd name="connsiteX7" fmla="*/ 3701143 w 5859472"/>
                  <a:gd name="connsiteY7" fmla="*/ 399156 h 2687163"/>
                  <a:gd name="connsiteX8" fmla="*/ 4093029 w 5859472"/>
                  <a:gd name="connsiteY8" fmla="*/ 1357099 h 2687163"/>
                  <a:gd name="connsiteX9" fmla="*/ 4383315 w 5859472"/>
                  <a:gd name="connsiteY9" fmla="*/ 747499 h 2687163"/>
                  <a:gd name="connsiteX10" fmla="*/ 4822372 w 5859472"/>
                  <a:gd name="connsiteY10" fmla="*/ 1886870 h 2687163"/>
                  <a:gd name="connsiteX11" fmla="*/ 5308600 w 5859472"/>
                  <a:gd name="connsiteY11" fmla="*/ 928927 h 2687163"/>
                  <a:gd name="connsiteX12" fmla="*/ 5859472 w 5859472"/>
                  <a:gd name="connsiteY12" fmla="*/ 2687163 h 2687163"/>
                  <a:gd name="connsiteX0" fmla="*/ -1 w 5093842"/>
                  <a:gd name="connsiteY0" fmla="*/ 0 h 2687150"/>
                  <a:gd name="connsiteX1" fmla="*/ 609599 w 5093842"/>
                  <a:gd name="connsiteY1" fmla="*/ 1897743 h 2687150"/>
                  <a:gd name="connsiteX2" fmla="*/ 1273628 w 5093842"/>
                  <a:gd name="connsiteY2" fmla="*/ 801914 h 2687150"/>
                  <a:gd name="connsiteX3" fmla="*/ 1759856 w 5093842"/>
                  <a:gd name="connsiteY3" fmla="*/ 1846943 h 2687150"/>
                  <a:gd name="connsiteX4" fmla="*/ 2224313 w 5093842"/>
                  <a:gd name="connsiteY4" fmla="*/ 1273628 h 2687150"/>
                  <a:gd name="connsiteX5" fmla="*/ 2539999 w 5093842"/>
                  <a:gd name="connsiteY5" fmla="*/ 1763486 h 2687150"/>
                  <a:gd name="connsiteX6" fmla="*/ 2935513 w 5093842"/>
                  <a:gd name="connsiteY6" fmla="*/ 399143 h 2687150"/>
                  <a:gd name="connsiteX7" fmla="*/ 3327399 w 5093842"/>
                  <a:gd name="connsiteY7" fmla="*/ 1357086 h 2687150"/>
                  <a:gd name="connsiteX8" fmla="*/ 3617685 w 5093842"/>
                  <a:gd name="connsiteY8" fmla="*/ 747486 h 2687150"/>
                  <a:gd name="connsiteX9" fmla="*/ 4056742 w 5093842"/>
                  <a:gd name="connsiteY9" fmla="*/ 1886857 h 2687150"/>
                  <a:gd name="connsiteX10" fmla="*/ 4542970 w 5093842"/>
                  <a:gd name="connsiteY10" fmla="*/ 928914 h 2687150"/>
                  <a:gd name="connsiteX11" fmla="*/ 5093842 w 5093842"/>
                  <a:gd name="connsiteY11" fmla="*/ 2687150 h 2687150"/>
                  <a:gd name="connsiteX0" fmla="*/ 0 w 4484243"/>
                  <a:gd name="connsiteY0" fmla="*/ 1501996 h 2291403"/>
                  <a:gd name="connsiteX1" fmla="*/ 664029 w 4484243"/>
                  <a:gd name="connsiteY1" fmla="*/ 406167 h 2291403"/>
                  <a:gd name="connsiteX2" fmla="*/ 1150257 w 4484243"/>
                  <a:gd name="connsiteY2" fmla="*/ 1451196 h 2291403"/>
                  <a:gd name="connsiteX3" fmla="*/ 1614714 w 4484243"/>
                  <a:gd name="connsiteY3" fmla="*/ 877881 h 2291403"/>
                  <a:gd name="connsiteX4" fmla="*/ 1930400 w 4484243"/>
                  <a:gd name="connsiteY4" fmla="*/ 1367739 h 2291403"/>
                  <a:gd name="connsiteX5" fmla="*/ 2325914 w 4484243"/>
                  <a:gd name="connsiteY5" fmla="*/ 3396 h 2291403"/>
                  <a:gd name="connsiteX6" fmla="*/ 2717800 w 4484243"/>
                  <a:gd name="connsiteY6" fmla="*/ 961339 h 2291403"/>
                  <a:gd name="connsiteX7" fmla="*/ 3008086 w 4484243"/>
                  <a:gd name="connsiteY7" fmla="*/ 351739 h 2291403"/>
                  <a:gd name="connsiteX8" fmla="*/ 3447143 w 4484243"/>
                  <a:gd name="connsiteY8" fmla="*/ 1491110 h 2291403"/>
                  <a:gd name="connsiteX9" fmla="*/ 3933371 w 4484243"/>
                  <a:gd name="connsiteY9" fmla="*/ 533167 h 2291403"/>
                  <a:gd name="connsiteX10" fmla="*/ 4484243 w 4484243"/>
                  <a:gd name="connsiteY10" fmla="*/ 2291403 h 2291403"/>
                  <a:gd name="connsiteX0" fmla="*/ 0 w 3820214"/>
                  <a:gd name="connsiteY0" fmla="*/ 406165 h 2291401"/>
                  <a:gd name="connsiteX1" fmla="*/ 486228 w 3820214"/>
                  <a:gd name="connsiteY1" fmla="*/ 1451194 h 2291401"/>
                  <a:gd name="connsiteX2" fmla="*/ 950685 w 3820214"/>
                  <a:gd name="connsiteY2" fmla="*/ 877879 h 2291401"/>
                  <a:gd name="connsiteX3" fmla="*/ 1266371 w 3820214"/>
                  <a:gd name="connsiteY3" fmla="*/ 1367737 h 2291401"/>
                  <a:gd name="connsiteX4" fmla="*/ 1661885 w 3820214"/>
                  <a:gd name="connsiteY4" fmla="*/ 3394 h 2291401"/>
                  <a:gd name="connsiteX5" fmla="*/ 2053771 w 3820214"/>
                  <a:gd name="connsiteY5" fmla="*/ 961337 h 2291401"/>
                  <a:gd name="connsiteX6" fmla="*/ 2344057 w 3820214"/>
                  <a:gd name="connsiteY6" fmla="*/ 351737 h 2291401"/>
                  <a:gd name="connsiteX7" fmla="*/ 2783114 w 3820214"/>
                  <a:gd name="connsiteY7" fmla="*/ 1491108 h 2291401"/>
                  <a:gd name="connsiteX8" fmla="*/ 3269342 w 3820214"/>
                  <a:gd name="connsiteY8" fmla="*/ 533165 h 2291401"/>
                  <a:gd name="connsiteX9" fmla="*/ 3820214 w 3820214"/>
                  <a:gd name="connsiteY9" fmla="*/ 2291401 h 2291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20214" h="2291401">
                    <a:moveTo>
                      <a:pt x="0" y="406165"/>
                    </a:moveTo>
                    <a:cubicBezTo>
                      <a:pt x="191709" y="397698"/>
                      <a:pt x="327781" y="1372575"/>
                      <a:pt x="486228" y="1451194"/>
                    </a:cubicBezTo>
                    <a:cubicBezTo>
                      <a:pt x="644675" y="1529813"/>
                      <a:pt x="820661" y="891788"/>
                      <a:pt x="950685" y="877879"/>
                    </a:cubicBezTo>
                    <a:cubicBezTo>
                      <a:pt x="1080709" y="863970"/>
                      <a:pt x="1147838" y="1513485"/>
                      <a:pt x="1266371" y="1367737"/>
                    </a:cubicBezTo>
                    <a:cubicBezTo>
                      <a:pt x="1384904" y="1221990"/>
                      <a:pt x="1530652" y="71127"/>
                      <a:pt x="1661885" y="3394"/>
                    </a:cubicBezTo>
                    <a:cubicBezTo>
                      <a:pt x="1793118" y="-64339"/>
                      <a:pt x="1940076" y="903280"/>
                      <a:pt x="2053771" y="961337"/>
                    </a:cubicBezTo>
                    <a:cubicBezTo>
                      <a:pt x="2167466" y="1019394"/>
                      <a:pt x="2222500" y="263442"/>
                      <a:pt x="2344057" y="351737"/>
                    </a:cubicBezTo>
                    <a:cubicBezTo>
                      <a:pt x="2465614" y="440032"/>
                      <a:pt x="2628900" y="1460870"/>
                      <a:pt x="2783114" y="1491108"/>
                    </a:cubicBezTo>
                    <a:cubicBezTo>
                      <a:pt x="2937328" y="1521346"/>
                      <a:pt x="3096492" y="399783"/>
                      <a:pt x="3269342" y="533165"/>
                    </a:cubicBezTo>
                    <a:cubicBezTo>
                      <a:pt x="3442192" y="666547"/>
                      <a:pt x="3671744" y="1647632"/>
                      <a:pt x="3820214" y="2291401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70" name="Freeform: Shape 169"/>
              <p:cNvSpPr/>
              <p:nvPr/>
            </p:nvSpPr>
            <p:spPr>
              <a:xfrm>
                <a:off x="2772230" y="5531340"/>
                <a:ext cx="3781294" cy="1864309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86180"/>
                  <a:gd name="connsiteY0" fmla="*/ 1190184 h 2518602"/>
                  <a:gd name="connsiteX1" fmla="*/ 765628 w 6586180"/>
                  <a:gd name="connsiteY1" fmla="*/ 1865099 h 2518602"/>
                  <a:gd name="connsiteX2" fmla="*/ 1531257 w 6586180"/>
                  <a:gd name="connsiteY2" fmla="*/ 13 h 2518602"/>
                  <a:gd name="connsiteX3" fmla="*/ 2140857 w 6586180"/>
                  <a:gd name="connsiteY3" fmla="*/ 1897756 h 2518602"/>
                  <a:gd name="connsiteX4" fmla="*/ 2804886 w 6586180"/>
                  <a:gd name="connsiteY4" fmla="*/ 801927 h 2518602"/>
                  <a:gd name="connsiteX5" fmla="*/ 3291114 w 6586180"/>
                  <a:gd name="connsiteY5" fmla="*/ 1846956 h 2518602"/>
                  <a:gd name="connsiteX6" fmla="*/ 3755571 w 6586180"/>
                  <a:gd name="connsiteY6" fmla="*/ 1273641 h 2518602"/>
                  <a:gd name="connsiteX7" fmla="*/ 4071257 w 6586180"/>
                  <a:gd name="connsiteY7" fmla="*/ 1763499 h 2518602"/>
                  <a:gd name="connsiteX8" fmla="*/ 4466771 w 6586180"/>
                  <a:gd name="connsiteY8" fmla="*/ 399156 h 2518602"/>
                  <a:gd name="connsiteX9" fmla="*/ 4858657 w 6586180"/>
                  <a:gd name="connsiteY9" fmla="*/ 1357099 h 2518602"/>
                  <a:gd name="connsiteX10" fmla="*/ 5148943 w 6586180"/>
                  <a:gd name="connsiteY10" fmla="*/ 747499 h 2518602"/>
                  <a:gd name="connsiteX11" fmla="*/ 5588000 w 6586180"/>
                  <a:gd name="connsiteY11" fmla="*/ 1886870 h 2518602"/>
                  <a:gd name="connsiteX12" fmla="*/ 6074228 w 6586180"/>
                  <a:gd name="connsiteY12" fmla="*/ 928927 h 2518602"/>
                  <a:gd name="connsiteX13" fmla="*/ 6586180 w 6586180"/>
                  <a:gd name="connsiteY13" fmla="*/ 2518602 h 2518602"/>
                  <a:gd name="connsiteX0" fmla="*/ 0 w 6586180"/>
                  <a:gd name="connsiteY0" fmla="*/ 794423 h 2122841"/>
                  <a:gd name="connsiteX1" fmla="*/ 765628 w 6586180"/>
                  <a:gd name="connsiteY1" fmla="*/ 1469338 h 2122841"/>
                  <a:gd name="connsiteX2" fmla="*/ 2140857 w 6586180"/>
                  <a:gd name="connsiteY2" fmla="*/ 1501995 h 2122841"/>
                  <a:gd name="connsiteX3" fmla="*/ 2804886 w 6586180"/>
                  <a:gd name="connsiteY3" fmla="*/ 406166 h 2122841"/>
                  <a:gd name="connsiteX4" fmla="*/ 3291114 w 6586180"/>
                  <a:gd name="connsiteY4" fmla="*/ 1451195 h 2122841"/>
                  <a:gd name="connsiteX5" fmla="*/ 3755571 w 6586180"/>
                  <a:gd name="connsiteY5" fmla="*/ 877880 h 2122841"/>
                  <a:gd name="connsiteX6" fmla="*/ 4071257 w 6586180"/>
                  <a:gd name="connsiteY6" fmla="*/ 1367738 h 2122841"/>
                  <a:gd name="connsiteX7" fmla="*/ 4466771 w 6586180"/>
                  <a:gd name="connsiteY7" fmla="*/ 3395 h 2122841"/>
                  <a:gd name="connsiteX8" fmla="*/ 4858657 w 6586180"/>
                  <a:gd name="connsiteY8" fmla="*/ 961338 h 2122841"/>
                  <a:gd name="connsiteX9" fmla="*/ 5148943 w 6586180"/>
                  <a:gd name="connsiteY9" fmla="*/ 351738 h 2122841"/>
                  <a:gd name="connsiteX10" fmla="*/ 5588000 w 6586180"/>
                  <a:gd name="connsiteY10" fmla="*/ 1491109 h 2122841"/>
                  <a:gd name="connsiteX11" fmla="*/ 6074228 w 6586180"/>
                  <a:gd name="connsiteY11" fmla="*/ 533166 h 2122841"/>
                  <a:gd name="connsiteX12" fmla="*/ 6586180 w 6586180"/>
                  <a:gd name="connsiteY12" fmla="*/ 2122841 h 2122841"/>
                  <a:gd name="connsiteX0" fmla="*/ 0 w 6586180"/>
                  <a:gd name="connsiteY0" fmla="*/ 794423 h 2122841"/>
                  <a:gd name="connsiteX1" fmla="*/ 2140857 w 6586180"/>
                  <a:gd name="connsiteY1" fmla="*/ 1501995 h 2122841"/>
                  <a:gd name="connsiteX2" fmla="*/ 2804886 w 6586180"/>
                  <a:gd name="connsiteY2" fmla="*/ 406166 h 2122841"/>
                  <a:gd name="connsiteX3" fmla="*/ 3291114 w 6586180"/>
                  <a:gd name="connsiteY3" fmla="*/ 1451195 h 2122841"/>
                  <a:gd name="connsiteX4" fmla="*/ 3755571 w 6586180"/>
                  <a:gd name="connsiteY4" fmla="*/ 877880 h 2122841"/>
                  <a:gd name="connsiteX5" fmla="*/ 4071257 w 6586180"/>
                  <a:gd name="connsiteY5" fmla="*/ 1367738 h 2122841"/>
                  <a:gd name="connsiteX6" fmla="*/ 4466771 w 6586180"/>
                  <a:gd name="connsiteY6" fmla="*/ 3395 h 2122841"/>
                  <a:gd name="connsiteX7" fmla="*/ 4858657 w 6586180"/>
                  <a:gd name="connsiteY7" fmla="*/ 961338 h 2122841"/>
                  <a:gd name="connsiteX8" fmla="*/ 5148943 w 6586180"/>
                  <a:gd name="connsiteY8" fmla="*/ 351738 h 2122841"/>
                  <a:gd name="connsiteX9" fmla="*/ 5588000 w 6586180"/>
                  <a:gd name="connsiteY9" fmla="*/ 1491109 h 2122841"/>
                  <a:gd name="connsiteX10" fmla="*/ 6074228 w 6586180"/>
                  <a:gd name="connsiteY10" fmla="*/ 533166 h 2122841"/>
                  <a:gd name="connsiteX11" fmla="*/ 6586180 w 6586180"/>
                  <a:gd name="connsiteY11" fmla="*/ 2122841 h 2122841"/>
                  <a:gd name="connsiteX0" fmla="*/ 0 w 4445323"/>
                  <a:gd name="connsiteY0" fmla="*/ 1501995 h 2122841"/>
                  <a:gd name="connsiteX1" fmla="*/ 664029 w 4445323"/>
                  <a:gd name="connsiteY1" fmla="*/ 406166 h 2122841"/>
                  <a:gd name="connsiteX2" fmla="*/ 1150257 w 4445323"/>
                  <a:gd name="connsiteY2" fmla="*/ 1451195 h 2122841"/>
                  <a:gd name="connsiteX3" fmla="*/ 1614714 w 4445323"/>
                  <a:gd name="connsiteY3" fmla="*/ 877880 h 2122841"/>
                  <a:gd name="connsiteX4" fmla="*/ 1930400 w 4445323"/>
                  <a:gd name="connsiteY4" fmla="*/ 1367738 h 2122841"/>
                  <a:gd name="connsiteX5" fmla="*/ 2325914 w 4445323"/>
                  <a:gd name="connsiteY5" fmla="*/ 3395 h 2122841"/>
                  <a:gd name="connsiteX6" fmla="*/ 2717800 w 4445323"/>
                  <a:gd name="connsiteY6" fmla="*/ 961338 h 2122841"/>
                  <a:gd name="connsiteX7" fmla="*/ 3008086 w 4445323"/>
                  <a:gd name="connsiteY7" fmla="*/ 351738 h 2122841"/>
                  <a:gd name="connsiteX8" fmla="*/ 3447143 w 4445323"/>
                  <a:gd name="connsiteY8" fmla="*/ 1491109 h 2122841"/>
                  <a:gd name="connsiteX9" fmla="*/ 3933371 w 4445323"/>
                  <a:gd name="connsiteY9" fmla="*/ 533166 h 2122841"/>
                  <a:gd name="connsiteX10" fmla="*/ 4445323 w 4445323"/>
                  <a:gd name="connsiteY10" fmla="*/ 2122841 h 2122841"/>
                  <a:gd name="connsiteX0" fmla="*/ 0 w 3781294"/>
                  <a:gd name="connsiteY0" fmla="*/ 406166 h 2122841"/>
                  <a:gd name="connsiteX1" fmla="*/ 486228 w 3781294"/>
                  <a:gd name="connsiteY1" fmla="*/ 1451195 h 2122841"/>
                  <a:gd name="connsiteX2" fmla="*/ 950685 w 3781294"/>
                  <a:gd name="connsiteY2" fmla="*/ 877880 h 2122841"/>
                  <a:gd name="connsiteX3" fmla="*/ 1266371 w 3781294"/>
                  <a:gd name="connsiteY3" fmla="*/ 1367738 h 2122841"/>
                  <a:gd name="connsiteX4" fmla="*/ 1661885 w 3781294"/>
                  <a:gd name="connsiteY4" fmla="*/ 3395 h 2122841"/>
                  <a:gd name="connsiteX5" fmla="*/ 2053771 w 3781294"/>
                  <a:gd name="connsiteY5" fmla="*/ 961338 h 2122841"/>
                  <a:gd name="connsiteX6" fmla="*/ 2344057 w 3781294"/>
                  <a:gd name="connsiteY6" fmla="*/ 351738 h 2122841"/>
                  <a:gd name="connsiteX7" fmla="*/ 2783114 w 3781294"/>
                  <a:gd name="connsiteY7" fmla="*/ 1491109 h 2122841"/>
                  <a:gd name="connsiteX8" fmla="*/ 3269342 w 3781294"/>
                  <a:gd name="connsiteY8" fmla="*/ 533166 h 2122841"/>
                  <a:gd name="connsiteX9" fmla="*/ 3781294 w 3781294"/>
                  <a:gd name="connsiteY9" fmla="*/ 2122841 h 212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81294" h="2122841">
                    <a:moveTo>
                      <a:pt x="0" y="406166"/>
                    </a:moveTo>
                    <a:cubicBezTo>
                      <a:pt x="191709" y="397699"/>
                      <a:pt x="327781" y="1372576"/>
                      <a:pt x="486228" y="1451195"/>
                    </a:cubicBezTo>
                    <a:cubicBezTo>
                      <a:pt x="644675" y="1529814"/>
                      <a:pt x="820661" y="891789"/>
                      <a:pt x="950685" y="877880"/>
                    </a:cubicBezTo>
                    <a:cubicBezTo>
                      <a:pt x="1080709" y="863971"/>
                      <a:pt x="1147838" y="1513486"/>
                      <a:pt x="1266371" y="1367738"/>
                    </a:cubicBezTo>
                    <a:cubicBezTo>
                      <a:pt x="1384904" y="1221991"/>
                      <a:pt x="1530652" y="71128"/>
                      <a:pt x="1661885" y="3395"/>
                    </a:cubicBezTo>
                    <a:cubicBezTo>
                      <a:pt x="1793118" y="-64338"/>
                      <a:pt x="1940076" y="903281"/>
                      <a:pt x="2053771" y="961338"/>
                    </a:cubicBezTo>
                    <a:cubicBezTo>
                      <a:pt x="2167466" y="1019395"/>
                      <a:pt x="2222500" y="263443"/>
                      <a:pt x="2344057" y="351738"/>
                    </a:cubicBezTo>
                    <a:cubicBezTo>
                      <a:pt x="2465614" y="440033"/>
                      <a:pt x="2628900" y="1460871"/>
                      <a:pt x="2783114" y="1491109"/>
                    </a:cubicBezTo>
                    <a:cubicBezTo>
                      <a:pt x="2937328" y="1521347"/>
                      <a:pt x="3102979" y="427877"/>
                      <a:pt x="3269342" y="533166"/>
                    </a:cubicBezTo>
                    <a:cubicBezTo>
                      <a:pt x="3435705" y="638455"/>
                      <a:pt x="3632824" y="1479072"/>
                      <a:pt x="3781294" y="2122841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71" name="Freeform: Shape 170"/>
              <p:cNvSpPr/>
              <p:nvPr/>
            </p:nvSpPr>
            <p:spPr>
              <a:xfrm>
                <a:off x="3258458" y="6195929"/>
                <a:ext cx="3236685" cy="1220174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27800"/>
                  <a:gd name="connsiteY0" fmla="*/ 1219485 h 2311685"/>
                  <a:gd name="connsiteX1" fmla="*/ 765628 w 6527800"/>
                  <a:gd name="connsiteY1" fmla="*/ 1894400 h 2311685"/>
                  <a:gd name="connsiteX2" fmla="*/ 1531257 w 6527800"/>
                  <a:gd name="connsiteY2" fmla="*/ 29314 h 2311685"/>
                  <a:gd name="connsiteX3" fmla="*/ 2804886 w 6527800"/>
                  <a:gd name="connsiteY3" fmla="*/ 831228 h 2311685"/>
                  <a:gd name="connsiteX4" fmla="*/ 3291114 w 6527800"/>
                  <a:gd name="connsiteY4" fmla="*/ 1876257 h 2311685"/>
                  <a:gd name="connsiteX5" fmla="*/ 3755571 w 6527800"/>
                  <a:gd name="connsiteY5" fmla="*/ 1302942 h 2311685"/>
                  <a:gd name="connsiteX6" fmla="*/ 4071257 w 6527800"/>
                  <a:gd name="connsiteY6" fmla="*/ 1792800 h 2311685"/>
                  <a:gd name="connsiteX7" fmla="*/ 4466771 w 6527800"/>
                  <a:gd name="connsiteY7" fmla="*/ 428457 h 2311685"/>
                  <a:gd name="connsiteX8" fmla="*/ 4858657 w 6527800"/>
                  <a:gd name="connsiteY8" fmla="*/ 1386400 h 2311685"/>
                  <a:gd name="connsiteX9" fmla="*/ 5148943 w 6527800"/>
                  <a:gd name="connsiteY9" fmla="*/ 776800 h 2311685"/>
                  <a:gd name="connsiteX10" fmla="*/ 5588000 w 6527800"/>
                  <a:gd name="connsiteY10" fmla="*/ 1916171 h 2311685"/>
                  <a:gd name="connsiteX11" fmla="*/ 6074228 w 6527800"/>
                  <a:gd name="connsiteY11" fmla="*/ 958228 h 2311685"/>
                  <a:gd name="connsiteX12" fmla="*/ 6527800 w 6527800"/>
                  <a:gd name="connsiteY12" fmla="*/ 2311685 h 2311685"/>
                  <a:gd name="connsiteX0" fmla="*/ 0 w 6527800"/>
                  <a:gd name="connsiteY0" fmla="*/ 794423 h 1886623"/>
                  <a:gd name="connsiteX1" fmla="*/ 765628 w 6527800"/>
                  <a:gd name="connsiteY1" fmla="*/ 1469338 h 1886623"/>
                  <a:gd name="connsiteX2" fmla="*/ 2804886 w 6527800"/>
                  <a:gd name="connsiteY2" fmla="*/ 406166 h 1886623"/>
                  <a:gd name="connsiteX3" fmla="*/ 3291114 w 6527800"/>
                  <a:gd name="connsiteY3" fmla="*/ 1451195 h 1886623"/>
                  <a:gd name="connsiteX4" fmla="*/ 3755571 w 6527800"/>
                  <a:gd name="connsiteY4" fmla="*/ 877880 h 1886623"/>
                  <a:gd name="connsiteX5" fmla="*/ 4071257 w 6527800"/>
                  <a:gd name="connsiteY5" fmla="*/ 1367738 h 1886623"/>
                  <a:gd name="connsiteX6" fmla="*/ 4466771 w 6527800"/>
                  <a:gd name="connsiteY6" fmla="*/ 3395 h 1886623"/>
                  <a:gd name="connsiteX7" fmla="*/ 4858657 w 6527800"/>
                  <a:gd name="connsiteY7" fmla="*/ 961338 h 1886623"/>
                  <a:gd name="connsiteX8" fmla="*/ 5148943 w 6527800"/>
                  <a:gd name="connsiteY8" fmla="*/ 351738 h 1886623"/>
                  <a:gd name="connsiteX9" fmla="*/ 5588000 w 6527800"/>
                  <a:gd name="connsiteY9" fmla="*/ 1491109 h 1886623"/>
                  <a:gd name="connsiteX10" fmla="*/ 6074228 w 6527800"/>
                  <a:gd name="connsiteY10" fmla="*/ 533166 h 1886623"/>
                  <a:gd name="connsiteX11" fmla="*/ 6527800 w 6527800"/>
                  <a:gd name="connsiteY11" fmla="*/ 1886623 h 1886623"/>
                  <a:gd name="connsiteX0" fmla="*/ 0 w 6527800"/>
                  <a:gd name="connsiteY0" fmla="*/ 794423 h 1886623"/>
                  <a:gd name="connsiteX1" fmla="*/ 765628 w 6527800"/>
                  <a:gd name="connsiteY1" fmla="*/ 1469338 h 1886623"/>
                  <a:gd name="connsiteX2" fmla="*/ 3291114 w 6527800"/>
                  <a:gd name="connsiteY2" fmla="*/ 1451195 h 1886623"/>
                  <a:gd name="connsiteX3" fmla="*/ 3755571 w 6527800"/>
                  <a:gd name="connsiteY3" fmla="*/ 877880 h 1886623"/>
                  <a:gd name="connsiteX4" fmla="*/ 4071257 w 6527800"/>
                  <a:gd name="connsiteY4" fmla="*/ 1367738 h 1886623"/>
                  <a:gd name="connsiteX5" fmla="*/ 4466771 w 6527800"/>
                  <a:gd name="connsiteY5" fmla="*/ 3395 h 1886623"/>
                  <a:gd name="connsiteX6" fmla="*/ 4858657 w 6527800"/>
                  <a:gd name="connsiteY6" fmla="*/ 961338 h 1886623"/>
                  <a:gd name="connsiteX7" fmla="*/ 5148943 w 6527800"/>
                  <a:gd name="connsiteY7" fmla="*/ 351738 h 1886623"/>
                  <a:gd name="connsiteX8" fmla="*/ 5588000 w 6527800"/>
                  <a:gd name="connsiteY8" fmla="*/ 1491109 h 1886623"/>
                  <a:gd name="connsiteX9" fmla="*/ 6074228 w 6527800"/>
                  <a:gd name="connsiteY9" fmla="*/ 533166 h 1886623"/>
                  <a:gd name="connsiteX10" fmla="*/ 6527800 w 6527800"/>
                  <a:gd name="connsiteY10" fmla="*/ 1886623 h 1886623"/>
                  <a:gd name="connsiteX0" fmla="*/ 0 w 6527800"/>
                  <a:gd name="connsiteY0" fmla="*/ 794423 h 1886623"/>
                  <a:gd name="connsiteX1" fmla="*/ 3291114 w 6527800"/>
                  <a:gd name="connsiteY1" fmla="*/ 1451195 h 1886623"/>
                  <a:gd name="connsiteX2" fmla="*/ 3755571 w 6527800"/>
                  <a:gd name="connsiteY2" fmla="*/ 877880 h 1886623"/>
                  <a:gd name="connsiteX3" fmla="*/ 4071257 w 6527800"/>
                  <a:gd name="connsiteY3" fmla="*/ 1367738 h 1886623"/>
                  <a:gd name="connsiteX4" fmla="*/ 4466771 w 6527800"/>
                  <a:gd name="connsiteY4" fmla="*/ 3395 h 1886623"/>
                  <a:gd name="connsiteX5" fmla="*/ 4858657 w 6527800"/>
                  <a:gd name="connsiteY5" fmla="*/ 961338 h 1886623"/>
                  <a:gd name="connsiteX6" fmla="*/ 5148943 w 6527800"/>
                  <a:gd name="connsiteY6" fmla="*/ 351738 h 1886623"/>
                  <a:gd name="connsiteX7" fmla="*/ 5588000 w 6527800"/>
                  <a:gd name="connsiteY7" fmla="*/ 1491109 h 1886623"/>
                  <a:gd name="connsiteX8" fmla="*/ 6074228 w 6527800"/>
                  <a:gd name="connsiteY8" fmla="*/ 533166 h 1886623"/>
                  <a:gd name="connsiteX9" fmla="*/ 6527800 w 6527800"/>
                  <a:gd name="connsiteY9" fmla="*/ 1886623 h 1886623"/>
                  <a:gd name="connsiteX0" fmla="*/ -1 w 3236685"/>
                  <a:gd name="connsiteY0" fmla="*/ 1451195 h 1886623"/>
                  <a:gd name="connsiteX1" fmla="*/ 464456 w 3236685"/>
                  <a:gd name="connsiteY1" fmla="*/ 877880 h 1886623"/>
                  <a:gd name="connsiteX2" fmla="*/ 780142 w 3236685"/>
                  <a:gd name="connsiteY2" fmla="*/ 1367738 h 1886623"/>
                  <a:gd name="connsiteX3" fmla="*/ 1175656 w 3236685"/>
                  <a:gd name="connsiteY3" fmla="*/ 3395 h 1886623"/>
                  <a:gd name="connsiteX4" fmla="*/ 1567542 w 3236685"/>
                  <a:gd name="connsiteY4" fmla="*/ 961338 h 1886623"/>
                  <a:gd name="connsiteX5" fmla="*/ 1857828 w 3236685"/>
                  <a:gd name="connsiteY5" fmla="*/ 351738 h 1886623"/>
                  <a:gd name="connsiteX6" fmla="*/ 2296885 w 3236685"/>
                  <a:gd name="connsiteY6" fmla="*/ 1491109 h 1886623"/>
                  <a:gd name="connsiteX7" fmla="*/ 2783113 w 3236685"/>
                  <a:gd name="connsiteY7" fmla="*/ 533166 h 1886623"/>
                  <a:gd name="connsiteX8" fmla="*/ 3236685 w 3236685"/>
                  <a:gd name="connsiteY8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36685" h="1886623">
                    <a:moveTo>
                      <a:pt x="-1" y="1451195"/>
                    </a:moveTo>
                    <a:cubicBezTo>
                      <a:pt x="625927" y="1465104"/>
                      <a:pt x="334432" y="891789"/>
                      <a:pt x="464456" y="877880"/>
                    </a:cubicBezTo>
                    <a:cubicBezTo>
                      <a:pt x="594480" y="863971"/>
                      <a:pt x="661609" y="1513486"/>
                      <a:pt x="780142" y="1367738"/>
                    </a:cubicBezTo>
                    <a:cubicBezTo>
                      <a:pt x="898675" y="1221991"/>
                      <a:pt x="1044423" y="71128"/>
                      <a:pt x="1175656" y="3395"/>
                    </a:cubicBezTo>
                    <a:cubicBezTo>
                      <a:pt x="1306889" y="-64338"/>
                      <a:pt x="1453847" y="903281"/>
                      <a:pt x="1567542" y="961338"/>
                    </a:cubicBezTo>
                    <a:cubicBezTo>
                      <a:pt x="1681237" y="1019395"/>
                      <a:pt x="1736271" y="263443"/>
                      <a:pt x="1857828" y="351738"/>
                    </a:cubicBezTo>
                    <a:cubicBezTo>
                      <a:pt x="1979385" y="440033"/>
                      <a:pt x="2142671" y="1460871"/>
                      <a:pt x="2296885" y="1491109"/>
                    </a:cubicBezTo>
                    <a:cubicBezTo>
                      <a:pt x="2451099" y="1521347"/>
                      <a:pt x="2626480" y="467247"/>
                      <a:pt x="2783113" y="533166"/>
                    </a:cubicBezTo>
                    <a:cubicBezTo>
                      <a:pt x="2939746" y="599085"/>
                      <a:pt x="3088215" y="1242854"/>
                      <a:pt x="3236685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72" name="Freeform: Shape 171"/>
              <p:cNvSpPr/>
              <p:nvPr/>
            </p:nvSpPr>
            <p:spPr>
              <a:xfrm>
                <a:off x="4038601" y="6633271"/>
                <a:ext cx="2456542" cy="862645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1 w 4996544"/>
                  <a:gd name="connsiteY0" fmla="*/ -2 h 2282369"/>
                  <a:gd name="connsiteX1" fmla="*/ 609601 w 4996544"/>
                  <a:gd name="connsiteY1" fmla="*/ 1897741 h 2282369"/>
                  <a:gd name="connsiteX2" fmla="*/ 1273630 w 4996544"/>
                  <a:gd name="connsiteY2" fmla="*/ 801912 h 2282369"/>
                  <a:gd name="connsiteX3" fmla="*/ 1759858 w 4996544"/>
                  <a:gd name="connsiteY3" fmla="*/ 1846941 h 2282369"/>
                  <a:gd name="connsiteX4" fmla="*/ 2224315 w 4996544"/>
                  <a:gd name="connsiteY4" fmla="*/ 1273626 h 2282369"/>
                  <a:gd name="connsiteX5" fmla="*/ 2540001 w 4996544"/>
                  <a:gd name="connsiteY5" fmla="*/ 1763484 h 2282369"/>
                  <a:gd name="connsiteX6" fmla="*/ 2935515 w 4996544"/>
                  <a:gd name="connsiteY6" fmla="*/ 399141 h 2282369"/>
                  <a:gd name="connsiteX7" fmla="*/ 3327401 w 4996544"/>
                  <a:gd name="connsiteY7" fmla="*/ 1357084 h 2282369"/>
                  <a:gd name="connsiteX8" fmla="*/ 3617687 w 4996544"/>
                  <a:gd name="connsiteY8" fmla="*/ 747484 h 2282369"/>
                  <a:gd name="connsiteX9" fmla="*/ 4056744 w 4996544"/>
                  <a:gd name="connsiteY9" fmla="*/ 1886855 h 2282369"/>
                  <a:gd name="connsiteX10" fmla="*/ 4542972 w 4996544"/>
                  <a:gd name="connsiteY10" fmla="*/ 928912 h 2282369"/>
                  <a:gd name="connsiteX11" fmla="*/ 4996544 w 4996544"/>
                  <a:gd name="connsiteY11" fmla="*/ 2282369 h 2282369"/>
                  <a:gd name="connsiteX0" fmla="*/ 0 w 4386943"/>
                  <a:gd name="connsiteY0" fmla="*/ 1501995 h 1886623"/>
                  <a:gd name="connsiteX1" fmla="*/ 664029 w 4386943"/>
                  <a:gd name="connsiteY1" fmla="*/ 406166 h 1886623"/>
                  <a:gd name="connsiteX2" fmla="*/ 1150257 w 4386943"/>
                  <a:gd name="connsiteY2" fmla="*/ 1451195 h 1886623"/>
                  <a:gd name="connsiteX3" fmla="*/ 1614714 w 4386943"/>
                  <a:gd name="connsiteY3" fmla="*/ 877880 h 1886623"/>
                  <a:gd name="connsiteX4" fmla="*/ 1930400 w 4386943"/>
                  <a:gd name="connsiteY4" fmla="*/ 1367738 h 1886623"/>
                  <a:gd name="connsiteX5" fmla="*/ 2325914 w 4386943"/>
                  <a:gd name="connsiteY5" fmla="*/ 3395 h 1886623"/>
                  <a:gd name="connsiteX6" fmla="*/ 2717800 w 4386943"/>
                  <a:gd name="connsiteY6" fmla="*/ 961338 h 1886623"/>
                  <a:gd name="connsiteX7" fmla="*/ 3008086 w 4386943"/>
                  <a:gd name="connsiteY7" fmla="*/ 351738 h 1886623"/>
                  <a:gd name="connsiteX8" fmla="*/ 3447143 w 4386943"/>
                  <a:gd name="connsiteY8" fmla="*/ 1491109 h 1886623"/>
                  <a:gd name="connsiteX9" fmla="*/ 3933371 w 4386943"/>
                  <a:gd name="connsiteY9" fmla="*/ 533166 h 1886623"/>
                  <a:gd name="connsiteX10" fmla="*/ 4386943 w 4386943"/>
                  <a:gd name="connsiteY10" fmla="*/ 1886623 h 1886623"/>
                  <a:gd name="connsiteX0" fmla="*/ 1 w 3722915"/>
                  <a:gd name="connsiteY0" fmla="*/ 406166 h 1886623"/>
                  <a:gd name="connsiteX1" fmla="*/ 486229 w 3722915"/>
                  <a:gd name="connsiteY1" fmla="*/ 1451195 h 1886623"/>
                  <a:gd name="connsiteX2" fmla="*/ 950686 w 3722915"/>
                  <a:gd name="connsiteY2" fmla="*/ 877880 h 1886623"/>
                  <a:gd name="connsiteX3" fmla="*/ 1266372 w 3722915"/>
                  <a:gd name="connsiteY3" fmla="*/ 1367738 h 1886623"/>
                  <a:gd name="connsiteX4" fmla="*/ 1661886 w 3722915"/>
                  <a:gd name="connsiteY4" fmla="*/ 3395 h 1886623"/>
                  <a:gd name="connsiteX5" fmla="*/ 2053772 w 3722915"/>
                  <a:gd name="connsiteY5" fmla="*/ 961338 h 1886623"/>
                  <a:gd name="connsiteX6" fmla="*/ 2344058 w 3722915"/>
                  <a:gd name="connsiteY6" fmla="*/ 351738 h 1886623"/>
                  <a:gd name="connsiteX7" fmla="*/ 2783115 w 3722915"/>
                  <a:gd name="connsiteY7" fmla="*/ 1491109 h 1886623"/>
                  <a:gd name="connsiteX8" fmla="*/ 3269343 w 3722915"/>
                  <a:gd name="connsiteY8" fmla="*/ 533166 h 1886623"/>
                  <a:gd name="connsiteX9" fmla="*/ 3722915 w 3722915"/>
                  <a:gd name="connsiteY9" fmla="*/ 1886623 h 1886623"/>
                  <a:gd name="connsiteX0" fmla="*/ -1 w 3236685"/>
                  <a:gd name="connsiteY0" fmla="*/ 1451195 h 1886623"/>
                  <a:gd name="connsiteX1" fmla="*/ 464456 w 3236685"/>
                  <a:gd name="connsiteY1" fmla="*/ 877880 h 1886623"/>
                  <a:gd name="connsiteX2" fmla="*/ 780142 w 3236685"/>
                  <a:gd name="connsiteY2" fmla="*/ 1367738 h 1886623"/>
                  <a:gd name="connsiteX3" fmla="*/ 1175656 w 3236685"/>
                  <a:gd name="connsiteY3" fmla="*/ 3395 h 1886623"/>
                  <a:gd name="connsiteX4" fmla="*/ 1567542 w 3236685"/>
                  <a:gd name="connsiteY4" fmla="*/ 961338 h 1886623"/>
                  <a:gd name="connsiteX5" fmla="*/ 1857828 w 3236685"/>
                  <a:gd name="connsiteY5" fmla="*/ 351738 h 1886623"/>
                  <a:gd name="connsiteX6" fmla="*/ 2296885 w 3236685"/>
                  <a:gd name="connsiteY6" fmla="*/ 1491109 h 1886623"/>
                  <a:gd name="connsiteX7" fmla="*/ 2783113 w 3236685"/>
                  <a:gd name="connsiteY7" fmla="*/ 533166 h 1886623"/>
                  <a:gd name="connsiteX8" fmla="*/ 3236685 w 3236685"/>
                  <a:gd name="connsiteY8" fmla="*/ 1886623 h 1886623"/>
                  <a:gd name="connsiteX0" fmla="*/ 0 w 2772229"/>
                  <a:gd name="connsiteY0" fmla="*/ 877880 h 1886623"/>
                  <a:gd name="connsiteX1" fmla="*/ 315686 w 2772229"/>
                  <a:gd name="connsiteY1" fmla="*/ 1367738 h 1886623"/>
                  <a:gd name="connsiteX2" fmla="*/ 711200 w 2772229"/>
                  <a:gd name="connsiteY2" fmla="*/ 3395 h 1886623"/>
                  <a:gd name="connsiteX3" fmla="*/ 1103086 w 2772229"/>
                  <a:gd name="connsiteY3" fmla="*/ 961338 h 1886623"/>
                  <a:gd name="connsiteX4" fmla="*/ 1393372 w 2772229"/>
                  <a:gd name="connsiteY4" fmla="*/ 351738 h 1886623"/>
                  <a:gd name="connsiteX5" fmla="*/ 1832429 w 2772229"/>
                  <a:gd name="connsiteY5" fmla="*/ 1491109 h 1886623"/>
                  <a:gd name="connsiteX6" fmla="*/ 2318657 w 2772229"/>
                  <a:gd name="connsiteY6" fmla="*/ 533166 h 1886623"/>
                  <a:gd name="connsiteX7" fmla="*/ 2772229 w 2772229"/>
                  <a:gd name="connsiteY7" fmla="*/ 1886623 h 1886623"/>
                  <a:gd name="connsiteX0" fmla="*/ 0 w 2456543"/>
                  <a:gd name="connsiteY0" fmla="*/ 1367738 h 1886623"/>
                  <a:gd name="connsiteX1" fmla="*/ 395514 w 2456543"/>
                  <a:gd name="connsiteY1" fmla="*/ 3395 h 1886623"/>
                  <a:gd name="connsiteX2" fmla="*/ 787400 w 2456543"/>
                  <a:gd name="connsiteY2" fmla="*/ 961338 h 1886623"/>
                  <a:gd name="connsiteX3" fmla="*/ 1077686 w 2456543"/>
                  <a:gd name="connsiteY3" fmla="*/ 351738 h 1886623"/>
                  <a:gd name="connsiteX4" fmla="*/ 1516743 w 2456543"/>
                  <a:gd name="connsiteY4" fmla="*/ 1491109 h 1886623"/>
                  <a:gd name="connsiteX5" fmla="*/ 2002971 w 2456543"/>
                  <a:gd name="connsiteY5" fmla="*/ 533166 h 1886623"/>
                  <a:gd name="connsiteX6" fmla="*/ 2456543 w 2456543"/>
                  <a:gd name="connsiteY6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56543" h="1886623">
                    <a:moveTo>
                      <a:pt x="0" y="1367738"/>
                    </a:moveTo>
                    <a:cubicBezTo>
                      <a:pt x="118533" y="1221991"/>
                      <a:pt x="264281" y="71128"/>
                      <a:pt x="395514" y="3395"/>
                    </a:cubicBezTo>
                    <a:cubicBezTo>
                      <a:pt x="526747" y="-64338"/>
                      <a:pt x="673705" y="903281"/>
                      <a:pt x="787400" y="961338"/>
                    </a:cubicBezTo>
                    <a:cubicBezTo>
                      <a:pt x="901095" y="1019395"/>
                      <a:pt x="956129" y="263443"/>
                      <a:pt x="1077686" y="351738"/>
                    </a:cubicBezTo>
                    <a:cubicBezTo>
                      <a:pt x="1199243" y="440033"/>
                      <a:pt x="1362529" y="1460871"/>
                      <a:pt x="1516743" y="1491109"/>
                    </a:cubicBezTo>
                    <a:cubicBezTo>
                      <a:pt x="1670957" y="1521347"/>
                      <a:pt x="1846338" y="467247"/>
                      <a:pt x="2002971" y="533166"/>
                    </a:cubicBezTo>
                    <a:cubicBezTo>
                      <a:pt x="2159604" y="599085"/>
                      <a:pt x="2308073" y="1242854"/>
                      <a:pt x="2456543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106" name="Group 105"/>
          <p:cNvGrpSpPr/>
          <p:nvPr userDrawn="1"/>
        </p:nvGrpSpPr>
        <p:grpSpPr>
          <a:xfrm>
            <a:off x="1476697" y="1517163"/>
            <a:ext cx="3599025" cy="1100078"/>
            <a:chOff x="5756093" y="2301512"/>
            <a:chExt cx="3899073" cy="1191791"/>
          </a:xfrm>
          <a:solidFill>
            <a:schemeClr val="bg1">
              <a:alpha val="30000"/>
            </a:schemeClr>
          </a:solidFill>
        </p:grpSpPr>
        <p:sp>
          <p:nvSpPr>
            <p:cNvPr id="107" name="Oval 106"/>
            <p:cNvSpPr/>
            <p:nvPr/>
          </p:nvSpPr>
          <p:spPr>
            <a:xfrm>
              <a:off x="8266386" y="2347545"/>
              <a:ext cx="254716" cy="254716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8" name="Oval 107"/>
            <p:cNvSpPr/>
            <p:nvPr/>
          </p:nvSpPr>
          <p:spPr>
            <a:xfrm>
              <a:off x="6326273" y="2776652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9" name="Oval 108"/>
            <p:cNvSpPr/>
            <p:nvPr/>
          </p:nvSpPr>
          <p:spPr>
            <a:xfrm>
              <a:off x="7275317" y="2569605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0" name="Oval 109"/>
            <p:cNvSpPr/>
            <p:nvPr/>
          </p:nvSpPr>
          <p:spPr>
            <a:xfrm>
              <a:off x="6676654" y="2855918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1" name="Oval 110"/>
            <p:cNvSpPr/>
            <p:nvPr/>
          </p:nvSpPr>
          <p:spPr>
            <a:xfrm>
              <a:off x="7021860" y="2762326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2" name="Oval 111"/>
            <p:cNvSpPr/>
            <p:nvPr/>
          </p:nvSpPr>
          <p:spPr>
            <a:xfrm>
              <a:off x="9150042" y="3113746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3" name="Oval 112"/>
            <p:cNvSpPr/>
            <p:nvPr/>
          </p:nvSpPr>
          <p:spPr>
            <a:xfrm>
              <a:off x="7521113" y="2409075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4" name="Oval 113"/>
            <p:cNvSpPr/>
            <p:nvPr/>
          </p:nvSpPr>
          <p:spPr>
            <a:xfrm>
              <a:off x="8821654" y="2895644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5" name="Oval 114"/>
            <p:cNvSpPr/>
            <p:nvPr/>
          </p:nvSpPr>
          <p:spPr>
            <a:xfrm>
              <a:off x="7911267" y="2301512"/>
              <a:ext cx="156013" cy="156013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6" name="Oval 115"/>
            <p:cNvSpPr/>
            <p:nvPr/>
          </p:nvSpPr>
          <p:spPr>
            <a:xfrm>
              <a:off x="8622432" y="2646039"/>
              <a:ext cx="156013" cy="156013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7" name="Oval 116"/>
            <p:cNvSpPr/>
            <p:nvPr/>
          </p:nvSpPr>
          <p:spPr>
            <a:xfrm>
              <a:off x="6046050" y="2698396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8" name="Oval 117"/>
            <p:cNvSpPr/>
            <p:nvPr/>
          </p:nvSpPr>
          <p:spPr>
            <a:xfrm>
              <a:off x="5756093" y="2768856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9" name="Oval 118"/>
            <p:cNvSpPr/>
            <p:nvPr/>
          </p:nvSpPr>
          <p:spPr>
            <a:xfrm>
              <a:off x="9364414" y="3258175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0" name="Oval 119"/>
            <p:cNvSpPr/>
            <p:nvPr/>
          </p:nvSpPr>
          <p:spPr>
            <a:xfrm>
              <a:off x="9609447" y="3447584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" name="Group 1"/>
          <p:cNvGrpSpPr/>
          <p:nvPr userDrawn="1"/>
        </p:nvGrpSpPr>
        <p:grpSpPr>
          <a:xfrm>
            <a:off x="-814610" y="4052583"/>
            <a:ext cx="4604401" cy="3537327"/>
            <a:chOff x="-814611" y="4052582"/>
            <a:chExt cx="4604401" cy="3537327"/>
          </a:xfrm>
        </p:grpSpPr>
        <p:sp>
          <p:nvSpPr>
            <p:cNvPr id="122" name="Freeform: Shape 121"/>
            <p:cNvSpPr/>
            <p:nvPr/>
          </p:nvSpPr>
          <p:spPr>
            <a:xfrm rot="6340721">
              <a:off x="730446" y="3093331"/>
              <a:ext cx="2012192" cy="3930693"/>
            </a:xfrm>
            <a:custGeom>
              <a:avLst/>
              <a:gdLst>
                <a:gd name="connsiteX0" fmla="*/ 1226774 w 1394417"/>
                <a:gd name="connsiteY0" fmla="*/ 0 h 3497943"/>
                <a:gd name="connsiteX1" fmla="*/ 660717 w 1394417"/>
                <a:gd name="connsiteY1" fmla="*/ 254000 h 3497943"/>
                <a:gd name="connsiteX2" fmla="*/ 1299345 w 1394417"/>
                <a:gd name="connsiteY2" fmla="*/ 635000 h 3497943"/>
                <a:gd name="connsiteX3" fmla="*/ 317 w 1394417"/>
                <a:gd name="connsiteY3" fmla="*/ 1157514 h 3497943"/>
                <a:gd name="connsiteX4" fmla="*/ 1168717 w 1394417"/>
                <a:gd name="connsiteY4" fmla="*/ 2028371 h 3497943"/>
                <a:gd name="connsiteX5" fmla="*/ 504688 w 1394417"/>
                <a:gd name="connsiteY5" fmla="*/ 2630714 h 3497943"/>
                <a:gd name="connsiteX6" fmla="*/ 1379174 w 1394417"/>
                <a:gd name="connsiteY6" fmla="*/ 3066143 h 3497943"/>
                <a:gd name="connsiteX7" fmla="*/ 1081631 w 1394417"/>
                <a:gd name="connsiteY7" fmla="*/ 3334657 h 3497943"/>
                <a:gd name="connsiteX8" fmla="*/ 1357402 w 1394417"/>
                <a:gd name="connsiteY8" fmla="*/ 3497943 h 3497943"/>
                <a:gd name="connsiteX0" fmla="*/ 1406051 w 1406051"/>
                <a:gd name="connsiteY0" fmla="*/ 0 h 3542949"/>
                <a:gd name="connsiteX1" fmla="*/ 660717 w 1406051"/>
                <a:gd name="connsiteY1" fmla="*/ 299006 h 3542949"/>
                <a:gd name="connsiteX2" fmla="*/ 1299345 w 1406051"/>
                <a:gd name="connsiteY2" fmla="*/ 680006 h 3542949"/>
                <a:gd name="connsiteX3" fmla="*/ 317 w 1406051"/>
                <a:gd name="connsiteY3" fmla="*/ 1202520 h 3542949"/>
                <a:gd name="connsiteX4" fmla="*/ 1168717 w 1406051"/>
                <a:gd name="connsiteY4" fmla="*/ 2073377 h 3542949"/>
                <a:gd name="connsiteX5" fmla="*/ 504688 w 1406051"/>
                <a:gd name="connsiteY5" fmla="*/ 2675720 h 3542949"/>
                <a:gd name="connsiteX6" fmla="*/ 1379174 w 1406051"/>
                <a:gd name="connsiteY6" fmla="*/ 3111149 h 3542949"/>
                <a:gd name="connsiteX7" fmla="*/ 1081631 w 1406051"/>
                <a:gd name="connsiteY7" fmla="*/ 3379663 h 3542949"/>
                <a:gd name="connsiteX8" fmla="*/ 1357402 w 1406051"/>
                <a:gd name="connsiteY8" fmla="*/ 3542949 h 3542949"/>
                <a:gd name="connsiteX0" fmla="*/ 1406051 w 1442185"/>
                <a:gd name="connsiteY0" fmla="*/ 0 h 3633781"/>
                <a:gd name="connsiteX1" fmla="*/ 660717 w 1442185"/>
                <a:gd name="connsiteY1" fmla="*/ 299006 h 3633781"/>
                <a:gd name="connsiteX2" fmla="*/ 1299345 w 1442185"/>
                <a:gd name="connsiteY2" fmla="*/ 680006 h 3633781"/>
                <a:gd name="connsiteX3" fmla="*/ 317 w 1442185"/>
                <a:gd name="connsiteY3" fmla="*/ 1202520 h 3633781"/>
                <a:gd name="connsiteX4" fmla="*/ 1168717 w 1442185"/>
                <a:gd name="connsiteY4" fmla="*/ 2073377 h 3633781"/>
                <a:gd name="connsiteX5" fmla="*/ 504688 w 1442185"/>
                <a:gd name="connsiteY5" fmla="*/ 2675720 h 3633781"/>
                <a:gd name="connsiteX6" fmla="*/ 1379174 w 1442185"/>
                <a:gd name="connsiteY6" fmla="*/ 3111149 h 3633781"/>
                <a:gd name="connsiteX7" fmla="*/ 1081631 w 1442185"/>
                <a:gd name="connsiteY7" fmla="*/ 3379663 h 3633781"/>
                <a:gd name="connsiteX8" fmla="*/ 1442185 w 1442185"/>
                <a:gd name="connsiteY8" fmla="*/ 3633781 h 363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2185" h="3633781">
                  <a:moveTo>
                    <a:pt x="1406051" y="0"/>
                  </a:moveTo>
                  <a:cubicBezTo>
                    <a:pt x="1116975" y="74083"/>
                    <a:pt x="678501" y="185672"/>
                    <a:pt x="660717" y="299006"/>
                  </a:cubicBezTo>
                  <a:cubicBezTo>
                    <a:pt x="642933" y="412340"/>
                    <a:pt x="1409412" y="529420"/>
                    <a:pt x="1299345" y="680006"/>
                  </a:cubicBezTo>
                  <a:cubicBezTo>
                    <a:pt x="1189278" y="830592"/>
                    <a:pt x="22088" y="970292"/>
                    <a:pt x="317" y="1202520"/>
                  </a:cubicBezTo>
                  <a:cubicBezTo>
                    <a:pt x="-21454" y="1434748"/>
                    <a:pt x="1084655" y="1827844"/>
                    <a:pt x="1168717" y="2073377"/>
                  </a:cubicBezTo>
                  <a:cubicBezTo>
                    <a:pt x="1252779" y="2318910"/>
                    <a:pt x="469612" y="2502758"/>
                    <a:pt x="504688" y="2675720"/>
                  </a:cubicBezTo>
                  <a:cubicBezTo>
                    <a:pt x="539764" y="2848682"/>
                    <a:pt x="1283017" y="2993825"/>
                    <a:pt x="1379174" y="3111149"/>
                  </a:cubicBezTo>
                  <a:cubicBezTo>
                    <a:pt x="1475331" y="3228473"/>
                    <a:pt x="1071129" y="3292558"/>
                    <a:pt x="1081631" y="3379663"/>
                  </a:cubicBezTo>
                  <a:cubicBezTo>
                    <a:pt x="1092133" y="3466768"/>
                    <a:pt x="1302485" y="3588121"/>
                    <a:pt x="1442185" y="3633781"/>
                  </a:cubicBezTo>
                </a:path>
              </a:pathLst>
            </a:custGeom>
            <a:noFill/>
            <a:ln>
              <a:solidFill>
                <a:schemeClr val="bg1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grpSp>
          <p:nvGrpSpPr>
            <p:cNvPr id="123" name="Group 122"/>
            <p:cNvGrpSpPr/>
            <p:nvPr/>
          </p:nvGrpSpPr>
          <p:grpSpPr>
            <a:xfrm rot="4480905">
              <a:off x="-94312" y="3705806"/>
              <a:ext cx="3163804" cy="4604401"/>
              <a:chOff x="9659552" y="2944459"/>
              <a:chExt cx="3163804" cy="4604401"/>
            </a:xfrm>
          </p:grpSpPr>
          <p:sp>
            <p:nvSpPr>
              <p:cNvPr id="124" name="Oval 123"/>
              <p:cNvSpPr/>
              <p:nvPr/>
            </p:nvSpPr>
            <p:spPr>
              <a:xfrm>
                <a:off x="10823866" y="3987711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25" name="Group 124"/>
              <p:cNvGrpSpPr/>
              <p:nvPr/>
            </p:nvGrpSpPr>
            <p:grpSpPr>
              <a:xfrm>
                <a:off x="10171356" y="3779500"/>
                <a:ext cx="468086" cy="468086"/>
                <a:chOff x="3766458" y="4912364"/>
                <a:chExt cx="468086" cy="468086"/>
              </a:xfrm>
            </p:grpSpPr>
            <p:sp>
              <p:nvSpPr>
                <p:cNvPr id="149" name="Oval 148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0" name="Oval 149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1" name="Oval 150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7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26" name="Oval 125"/>
              <p:cNvSpPr/>
              <p:nvPr/>
            </p:nvSpPr>
            <p:spPr>
              <a:xfrm>
                <a:off x="11273865" y="4127326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7" name="Oval 126"/>
              <p:cNvSpPr/>
              <p:nvPr/>
            </p:nvSpPr>
            <p:spPr>
              <a:xfrm>
                <a:off x="10545821" y="4457906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8" name="Oval 127"/>
              <p:cNvSpPr/>
              <p:nvPr/>
            </p:nvSpPr>
            <p:spPr>
              <a:xfrm>
                <a:off x="10739111" y="4778511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9" name="Oval 128"/>
              <p:cNvSpPr/>
              <p:nvPr/>
            </p:nvSpPr>
            <p:spPr>
              <a:xfrm>
                <a:off x="10936920" y="5102324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0" name="Oval 129"/>
              <p:cNvSpPr/>
              <p:nvPr/>
            </p:nvSpPr>
            <p:spPr>
              <a:xfrm>
                <a:off x="11707992" y="426527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1" name="Oval 130"/>
              <p:cNvSpPr/>
              <p:nvPr/>
            </p:nvSpPr>
            <p:spPr>
              <a:xfrm>
                <a:off x="11957613" y="416105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2" name="Oval 131"/>
              <p:cNvSpPr/>
              <p:nvPr/>
            </p:nvSpPr>
            <p:spPr>
              <a:xfrm>
                <a:off x="11057753" y="5351715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3" name="Freeform: Shape 132"/>
              <p:cNvSpPr/>
              <p:nvPr/>
            </p:nvSpPr>
            <p:spPr>
              <a:xfrm rot="1859816">
                <a:off x="9942109" y="3114447"/>
                <a:ext cx="1657518" cy="3705100"/>
              </a:xfrm>
              <a:custGeom>
                <a:avLst/>
                <a:gdLst>
                  <a:gd name="connsiteX0" fmla="*/ 1226774 w 1394417"/>
                  <a:gd name="connsiteY0" fmla="*/ 0 h 3497943"/>
                  <a:gd name="connsiteX1" fmla="*/ 660717 w 1394417"/>
                  <a:gd name="connsiteY1" fmla="*/ 254000 h 3497943"/>
                  <a:gd name="connsiteX2" fmla="*/ 1299345 w 1394417"/>
                  <a:gd name="connsiteY2" fmla="*/ 635000 h 3497943"/>
                  <a:gd name="connsiteX3" fmla="*/ 317 w 1394417"/>
                  <a:gd name="connsiteY3" fmla="*/ 1157514 h 3497943"/>
                  <a:gd name="connsiteX4" fmla="*/ 1168717 w 1394417"/>
                  <a:gd name="connsiteY4" fmla="*/ 2028371 h 3497943"/>
                  <a:gd name="connsiteX5" fmla="*/ 504688 w 1394417"/>
                  <a:gd name="connsiteY5" fmla="*/ 2630714 h 3497943"/>
                  <a:gd name="connsiteX6" fmla="*/ 1379174 w 1394417"/>
                  <a:gd name="connsiteY6" fmla="*/ 3066143 h 3497943"/>
                  <a:gd name="connsiteX7" fmla="*/ 1081631 w 1394417"/>
                  <a:gd name="connsiteY7" fmla="*/ 3334657 h 3497943"/>
                  <a:gd name="connsiteX8" fmla="*/ 1357402 w 1394417"/>
                  <a:gd name="connsiteY8" fmla="*/ 3497943 h 3497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94417" h="3497943">
                    <a:moveTo>
                      <a:pt x="1226774" y="0"/>
                    </a:moveTo>
                    <a:cubicBezTo>
                      <a:pt x="937698" y="74083"/>
                      <a:pt x="648622" y="148167"/>
                      <a:pt x="660717" y="254000"/>
                    </a:cubicBezTo>
                    <a:cubicBezTo>
                      <a:pt x="672812" y="359833"/>
                      <a:pt x="1409412" y="484414"/>
                      <a:pt x="1299345" y="635000"/>
                    </a:cubicBezTo>
                    <a:cubicBezTo>
                      <a:pt x="1189278" y="785586"/>
                      <a:pt x="22088" y="925286"/>
                      <a:pt x="317" y="1157514"/>
                    </a:cubicBezTo>
                    <a:cubicBezTo>
                      <a:pt x="-21454" y="1389742"/>
                      <a:pt x="1084655" y="1782838"/>
                      <a:pt x="1168717" y="2028371"/>
                    </a:cubicBezTo>
                    <a:cubicBezTo>
                      <a:pt x="1252779" y="2273904"/>
                      <a:pt x="469612" y="2457752"/>
                      <a:pt x="504688" y="2630714"/>
                    </a:cubicBezTo>
                    <a:cubicBezTo>
                      <a:pt x="539764" y="2803676"/>
                      <a:pt x="1283017" y="2948819"/>
                      <a:pt x="1379174" y="3066143"/>
                    </a:cubicBezTo>
                    <a:cubicBezTo>
                      <a:pt x="1475331" y="3183467"/>
                      <a:pt x="1085260" y="3262690"/>
                      <a:pt x="1081631" y="3334657"/>
                    </a:cubicBezTo>
                    <a:cubicBezTo>
                      <a:pt x="1078002" y="3406624"/>
                      <a:pt x="1217702" y="3452283"/>
                      <a:pt x="1357402" y="349794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34" name="Group 133"/>
              <p:cNvGrpSpPr/>
              <p:nvPr/>
            </p:nvGrpSpPr>
            <p:grpSpPr>
              <a:xfrm>
                <a:off x="9659552" y="6255370"/>
                <a:ext cx="511804" cy="511804"/>
                <a:chOff x="3766458" y="4912364"/>
                <a:chExt cx="468086" cy="468086"/>
              </a:xfrm>
            </p:grpSpPr>
            <p:sp>
              <p:nvSpPr>
                <p:cNvPr id="146" name="Oval 145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7" name="Oval 146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8" name="Oval 147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6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35" name="Oval 134"/>
              <p:cNvSpPr/>
              <p:nvPr/>
            </p:nvSpPr>
            <p:spPr>
              <a:xfrm>
                <a:off x="10019476" y="3733781"/>
                <a:ext cx="45719" cy="45719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36" name="Group 135"/>
              <p:cNvGrpSpPr/>
              <p:nvPr/>
            </p:nvGrpSpPr>
            <p:grpSpPr>
              <a:xfrm rot="18900000" flipH="1">
                <a:off x="9997674" y="4364464"/>
                <a:ext cx="1590444" cy="3184396"/>
                <a:chOff x="1113971" y="3497757"/>
                <a:chExt cx="1150258" cy="3142530"/>
              </a:xfrm>
            </p:grpSpPr>
            <p:sp>
              <p:nvSpPr>
                <p:cNvPr id="142" name="Freeform: Shape 141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3" name="Freeform: Shape 142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4" name="Freeform: Shape 143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5" name="Freeform: Shape 144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37" name="Group 136"/>
              <p:cNvGrpSpPr/>
              <p:nvPr/>
            </p:nvGrpSpPr>
            <p:grpSpPr>
              <a:xfrm rot="7200000" flipH="1" flipV="1">
                <a:off x="10907040" y="2618587"/>
                <a:ext cx="1590444" cy="2242188"/>
                <a:chOff x="1113971" y="3497757"/>
                <a:chExt cx="1150258" cy="3142530"/>
              </a:xfrm>
            </p:grpSpPr>
            <p:sp>
              <p:nvSpPr>
                <p:cNvPr id="138" name="Freeform: Shape 137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9" name="Freeform: Shape 138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0" name="Freeform: Shape 139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1" name="Freeform: Shape 140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sp>
        <p:nvSpPr>
          <p:cNvPr id="163" name="Rectangle 16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2050">
                  <a:alpha val="60000"/>
                </a:srgbClr>
              </a:gs>
              <a:gs pos="100000">
                <a:srgbClr val="002050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graphicFrame>
        <p:nvGraphicFramePr>
          <p:cNvPr id="11" name="Object 10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2531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1" name="Object 10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2531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5" name="Title 1"/>
          <p:cNvSpPr>
            <a:spLocks noGrp="1"/>
          </p:cNvSpPr>
          <p:nvPr userDrawn="1">
            <p:ph type="title"/>
          </p:nvPr>
        </p:nvSpPr>
        <p:spPr>
          <a:xfrm>
            <a:off x="1056885" y="2239229"/>
            <a:ext cx="9440739" cy="3424745"/>
          </a:xfrm>
        </p:spPr>
        <p:txBody>
          <a:bodyPr>
            <a:noAutofit/>
          </a:bodyPr>
          <a:lstStyle>
            <a:lvl1pPr>
              <a:defRPr sz="7998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7319479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7"/>
            <a:ext cx="11655079" cy="2328587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2" indent="0">
              <a:buNone/>
              <a:defRPr/>
            </a:lvl2pPr>
            <a:lvl3pPr marL="448182" indent="0">
              <a:buNone/>
              <a:defRPr/>
            </a:lvl3pPr>
            <a:lvl4pPr marL="672274" indent="0">
              <a:buNone/>
              <a:defRPr/>
            </a:lvl4pPr>
            <a:lvl5pPr marL="896364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7"/>
          <p:cNvSpPr txBox="1"/>
          <p:nvPr userDrawn="1"/>
        </p:nvSpPr>
        <p:spPr bwMode="black">
          <a:xfrm>
            <a:off x="4361648" y="6566925"/>
            <a:ext cx="3468706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424673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5"/>
            <a:ext cx="11655079" cy="232858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7"/>
          <p:cNvSpPr txBox="1"/>
          <p:nvPr userDrawn="1"/>
        </p:nvSpPr>
        <p:spPr bwMode="black">
          <a:xfrm>
            <a:off x="4361648" y="6566925"/>
            <a:ext cx="3468706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659774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7645"/>
            <a:ext cx="5378548" cy="214759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47" indent="0">
              <a:buFont typeface="Wingdings" panose="05000000000000000000" pitchFamily="2" charset="2"/>
              <a:buNone/>
              <a:defRPr sz="2353" b="0"/>
            </a:lvl2pPr>
            <a:lvl3pPr marL="441957" indent="0">
              <a:buFont typeface="Wingdings" panose="05000000000000000000" pitchFamily="2" charset="2"/>
              <a:buNone/>
              <a:tabLst/>
              <a:defRPr sz="2157" b="0"/>
            </a:lvl3pPr>
            <a:lvl4pPr marL="639592" indent="0">
              <a:buFont typeface="Wingdings" panose="05000000000000000000" pitchFamily="2" charset="2"/>
              <a:buNone/>
              <a:defRPr sz="2157" b="0"/>
            </a:lvl4pPr>
            <a:lvl5pPr marL="83723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47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57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592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3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05" marR="0" lvl="0" indent="-504205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05" marR="0" lvl="1" indent="-504205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05" marR="0" lvl="2" indent="-504205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05" marR="0" lvl="3" indent="-504205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05" marR="0" lvl="4" indent="-504205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black">
          <a:xfrm>
            <a:off x="4361648" y="6566925"/>
            <a:ext cx="3468706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254629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7645"/>
            <a:ext cx="5378548" cy="2147596"/>
          </a:xfrm>
        </p:spPr>
        <p:txBody>
          <a:bodyPr wrap="square">
            <a:spAutoFit/>
          </a:bodyPr>
          <a:lstStyle>
            <a:lvl1pPr marL="227204" indent="-227204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15" indent="-168068">
              <a:buFont typeface="Wingdings" panose="05000000000000000000" pitchFamily="2" charset="2"/>
              <a:buChar char=""/>
              <a:defRPr sz="2353" b="0"/>
            </a:lvl2pPr>
            <a:lvl3pPr marL="627144" indent="-185186">
              <a:buFont typeface="Wingdings" panose="05000000000000000000" pitchFamily="2" charset="2"/>
              <a:buChar char=""/>
              <a:tabLst/>
              <a:defRPr sz="2157" b="0"/>
            </a:lvl3pPr>
            <a:lvl4pPr marL="812330" indent="-172738">
              <a:buFont typeface="Wingdings" panose="05000000000000000000" pitchFamily="2" charset="2"/>
              <a:buChar char=""/>
              <a:defRPr sz="2157" b="0"/>
            </a:lvl4pPr>
            <a:lvl5pPr marL="1003742" indent="-166513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7644"/>
            <a:ext cx="5378548" cy="2429576"/>
          </a:xfrm>
        </p:spPr>
        <p:txBody>
          <a:bodyPr wrap="square">
            <a:spAutoFit/>
          </a:bodyPr>
          <a:lstStyle>
            <a:lvl1pPr marL="281670" indent="-281670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84" indent="-336137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094" indent="-336137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29" indent="-336137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65" indent="-336137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4" marR="0" lvl="0" indent="-227204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4" marR="0" lvl="1" indent="-227204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4" marR="0" lvl="2" indent="-227204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4" marR="0" lvl="3" indent="-227204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4" marR="0" lvl="4" indent="-227204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black">
          <a:xfrm>
            <a:off x="4361648" y="6566925"/>
            <a:ext cx="3468706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691996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6924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black">
          <a:xfrm>
            <a:off x="4361648" y="6566925"/>
            <a:ext cx="3468706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982060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AA35A8-E087-426C-BCE4-DED8074F02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912251-C1D1-475D-8A57-2211DEE249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B329D8-794D-4883-8C4C-E48B36FF0C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3D017F-9DA9-4A5B-A016-2791FEABC1C3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5/2019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D57FFF-BD67-4A81-A546-BAF4B6C8D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10CA30-A1E9-4315-8384-AC67A7BAE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D9568B-6C42-40FB-BA7D-BAFC60EE407A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159864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BBF7881-8D09-4F22-B10B-0916A242A2CD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5B1D67C-D600-4009-9F96-DBD9F692B67A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89ED409-83AE-42D1-A29E-F5ACE1D5379C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A47E83EE-C7AB-4851-AC1F-A2E965DE8A4F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117874BE-F982-46B6-83B3-569DB8A26C11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72B84FE-1FBD-4DB0-A1BB-1D393BABFD96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F0612185-AF46-47F9-B984-65C416463817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1F4FE628-8992-4D3C-9177-54650A419B37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EB1F0C1-51BC-433D-B643-499296AD9EB3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1F95DA3E-A7A9-4898-8537-3057A04A80B1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A0885F40-F98C-4749-AF50-8D882201C7B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DF4BDA5-0196-465B-9592-AD537FCE4B9C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C953882-CF21-4072-808A-AFC6C6427081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24ACD3F6-35BF-4463-9A90-5F5B9025D6D9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36E0228F-415B-4662-977D-90C5D263A103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BBA85FE8-C6CE-42AD-9924-C426CEBA2C5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50FBB4D3-1D1C-41F7-856E-89287C5609D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F5EE762-48D4-46D8-8ECD-7595053F7D6E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5602528A-0204-4F83-A3CC-B19E5ED41C75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70E694A-2FDE-4ED0-B17A-283BAEEEBC3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014F876-92BB-450A-A3A6-EB7B6C2CB558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AFE4E51-6693-4C7C-9EE7-633EA9AAA2AC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522550D5-A578-4C33-B405-092D50801565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6A5C88A0-A89F-42B9-B5E5-623E0E0D755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4AD7328-AEE6-43BE-8744-DE52D5F8CC2E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0DC1356-0D84-4394-B0FF-A91903B8585E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CA4391C-EE34-4D39-AC03-6D3272F213DC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10894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5598C7-98FA-4441-9A16-6865D6BEA2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122363"/>
            <a:ext cx="9144000" cy="2387600"/>
          </a:xfrm>
        </p:spPr>
        <p:txBody>
          <a:bodyPr anchor="b"/>
          <a:lstStyle>
            <a:lvl1pPr algn="ctr">
              <a:defRPr sz="599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9CEFEC-B499-4D69-AEAE-D3E52BD754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</p:spPr>
        <p:txBody>
          <a:bodyPr/>
          <a:lstStyle>
            <a:lvl1pPr marL="0" indent="0" algn="ctr">
              <a:buNone/>
              <a:defRPr sz="2399"/>
            </a:lvl1pPr>
            <a:lvl2pPr marL="456975" indent="0" algn="ctr">
              <a:buNone/>
              <a:defRPr sz="1999"/>
            </a:lvl2pPr>
            <a:lvl3pPr marL="913951" indent="0" algn="ctr">
              <a:buNone/>
              <a:defRPr sz="1799"/>
            </a:lvl3pPr>
            <a:lvl4pPr marL="1370926" indent="0" algn="ctr">
              <a:buNone/>
              <a:defRPr sz="1600"/>
            </a:lvl4pPr>
            <a:lvl5pPr marL="1827900" indent="0" algn="ctr">
              <a:buNone/>
              <a:defRPr sz="1600"/>
            </a:lvl5pPr>
            <a:lvl6pPr marL="2284875" indent="0" algn="ctr">
              <a:buNone/>
              <a:defRPr sz="1600"/>
            </a:lvl6pPr>
            <a:lvl7pPr marL="2741851" indent="0" algn="ctr">
              <a:buNone/>
              <a:defRPr sz="1600"/>
            </a:lvl7pPr>
            <a:lvl8pPr marL="3198825" indent="0" algn="ctr">
              <a:buNone/>
              <a:defRPr sz="1600"/>
            </a:lvl8pPr>
            <a:lvl9pPr marL="36558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36EC2D-1DDE-44DD-A9B6-D13BED7AD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9/2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F2E327-2285-4FFE-A444-0A32F1E9DA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1E8FFA-1F8B-48EA-B39E-5EBE22AD91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504305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45A05-5749-4AC9-8774-4B958AC52E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ECF56E-1913-4C84-AFB7-141C311662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B4B18C-A37E-49CD-9C41-7AB0C0113F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9/2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CB07A0-EC62-4F71-A5E1-7B9FB9603A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F2508F-BD82-48F6-B10E-3F5D5C4A84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09310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Gener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cxnSp>
        <p:nvCxnSpPr>
          <p:cNvPr id="10" name="Straight Connector 9"/>
          <p:cNvCxnSpPr>
            <a:cxnSpLocks/>
          </p:cNvCxnSpPr>
          <p:nvPr userDrawn="1"/>
        </p:nvCxnSpPr>
        <p:spPr>
          <a:xfrm>
            <a:off x="9587401" y="6115482"/>
            <a:ext cx="0" cy="358617"/>
          </a:xfrm>
          <a:prstGeom prst="line">
            <a:avLst/>
          </a:prstGeom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4927287" y="259969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explore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4927287" y="337802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wi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1272068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 rot="5400000">
            <a:off x="-1985377" y="1811203"/>
            <a:ext cx="6108339" cy="2485929"/>
            <a:chOff x="-32657" y="4691730"/>
            <a:chExt cx="6625100" cy="2804185"/>
          </a:xfrm>
        </p:grpSpPr>
        <p:sp>
          <p:nvSpPr>
            <p:cNvPr id="5" name="Freeform: Shape 4"/>
            <p:cNvSpPr/>
            <p:nvPr/>
          </p:nvSpPr>
          <p:spPr>
            <a:xfrm>
              <a:off x="-32657" y="4691730"/>
              <a:ext cx="6625100" cy="2687163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625100"/>
                <a:gd name="connsiteY0" fmla="*/ 1190184 h 2687163"/>
                <a:gd name="connsiteX1" fmla="*/ 765628 w 6625100"/>
                <a:gd name="connsiteY1" fmla="*/ 1865099 h 2687163"/>
                <a:gd name="connsiteX2" fmla="*/ 1531257 w 6625100"/>
                <a:gd name="connsiteY2" fmla="*/ 13 h 2687163"/>
                <a:gd name="connsiteX3" fmla="*/ 2140857 w 6625100"/>
                <a:gd name="connsiteY3" fmla="*/ 1897756 h 2687163"/>
                <a:gd name="connsiteX4" fmla="*/ 2804886 w 6625100"/>
                <a:gd name="connsiteY4" fmla="*/ 801927 h 2687163"/>
                <a:gd name="connsiteX5" fmla="*/ 3291114 w 6625100"/>
                <a:gd name="connsiteY5" fmla="*/ 1846956 h 2687163"/>
                <a:gd name="connsiteX6" fmla="*/ 3755571 w 6625100"/>
                <a:gd name="connsiteY6" fmla="*/ 1273641 h 2687163"/>
                <a:gd name="connsiteX7" fmla="*/ 4071257 w 6625100"/>
                <a:gd name="connsiteY7" fmla="*/ 1763499 h 2687163"/>
                <a:gd name="connsiteX8" fmla="*/ 4466771 w 6625100"/>
                <a:gd name="connsiteY8" fmla="*/ 399156 h 2687163"/>
                <a:gd name="connsiteX9" fmla="*/ 4858657 w 6625100"/>
                <a:gd name="connsiteY9" fmla="*/ 1357099 h 2687163"/>
                <a:gd name="connsiteX10" fmla="*/ 5148943 w 6625100"/>
                <a:gd name="connsiteY10" fmla="*/ 747499 h 2687163"/>
                <a:gd name="connsiteX11" fmla="*/ 5588000 w 6625100"/>
                <a:gd name="connsiteY11" fmla="*/ 1886870 h 2687163"/>
                <a:gd name="connsiteX12" fmla="*/ 6074228 w 6625100"/>
                <a:gd name="connsiteY12" fmla="*/ 928927 h 2687163"/>
                <a:gd name="connsiteX13" fmla="*/ 6625100 w 6625100"/>
                <a:gd name="connsiteY13" fmla="*/ 2687163 h 268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25100" h="2687163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1378" y="795545"/>
                    <a:pt x="6074228" y="928927"/>
                  </a:cubicBezTo>
                  <a:cubicBezTo>
                    <a:pt x="6247078" y="1062309"/>
                    <a:pt x="6476630" y="2043394"/>
                    <a:pt x="6625100" y="2687163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" name="Freeform: Shape 5"/>
            <p:cNvSpPr/>
            <p:nvPr/>
          </p:nvSpPr>
          <p:spPr>
            <a:xfrm>
              <a:off x="-32656" y="5183779"/>
              <a:ext cx="6586180" cy="221187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586180"/>
                <a:gd name="connsiteY0" fmla="*/ 1190184 h 2518602"/>
                <a:gd name="connsiteX1" fmla="*/ 765628 w 6586180"/>
                <a:gd name="connsiteY1" fmla="*/ 1865099 h 2518602"/>
                <a:gd name="connsiteX2" fmla="*/ 1531257 w 6586180"/>
                <a:gd name="connsiteY2" fmla="*/ 13 h 2518602"/>
                <a:gd name="connsiteX3" fmla="*/ 2140857 w 6586180"/>
                <a:gd name="connsiteY3" fmla="*/ 1897756 h 2518602"/>
                <a:gd name="connsiteX4" fmla="*/ 2804886 w 6586180"/>
                <a:gd name="connsiteY4" fmla="*/ 801927 h 2518602"/>
                <a:gd name="connsiteX5" fmla="*/ 3291114 w 6586180"/>
                <a:gd name="connsiteY5" fmla="*/ 1846956 h 2518602"/>
                <a:gd name="connsiteX6" fmla="*/ 3755571 w 6586180"/>
                <a:gd name="connsiteY6" fmla="*/ 1273641 h 2518602"/>
                <a:gd name="connsiteX7" fmla="*/ 4071257 w 6586180"/>
                <a:gd name="connsiteY7" fmla="*/ 1763499 h 2518602"/>
                <a:gd name="connsiteX8" fmla="*/ 4466771 w 6586180"/>
                <a:gd name="connsiteY8" fmla="*/ 399156 h 2518602"/>
                <a:gd name="connsiteX9" fmla="*/ 4858657 w 6586180"/>
                <a:gd name="connsiteY9" fmla="*/ 1357099 h 2518602"/>
                <a:gd name="connsiteX10" fmla="*/ 5148943 w 6586180"/>
                <a:gd name="connsiteY10" fmla="*/ 747499 h 2518602"/>
                <a:gd name="connsiteX11" fmla="*/ 5588000 w 6586180"/>
                <a:gd name="connsiteY11" fmla="*/ 1886870 h 2518602"/>
                <a:gd name="connsiteX12" fmla="*/ 6074228 w 6586180"/>
                <a:gd name="connsiteY12" fmla="*/ 928927 h 2518602"/>
                <a:gd name="connsiteX13" fmla="*/ 6586180 w 6586180"/>
                <a:gd name="connsiteY13" fmla="*/ 2518602 h 251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86180" h="2518602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7865" y="823638"/>
                    <a:pt x="6074228" y="928927"/>
                  </a:cubicBezTo>
                  <a:cubicBezTo>
                    <a:pt x="6240591" y="1034216"/>
                    <a:pt x="6437710" y="1874833"/>
                    <a:pt x="6586180" y="2518602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" name="Freeform: Shape 6"/>
            <p:cNvSpPr/>
            <p:nvPr/>
          </p:nvSpPr>
          <p:spPr>
            <a:xfrm>
              <a:off x="-32657" y="5939971"/>
              <a:ext cx="6527800" cy="147613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8" name="Freeform: Shape 7"/>
            <p:cNvSpPr/>
            <p:nvPr/>
          </p:nvSpPr>
          <p:spPr>
            <a:xfrm>
              <a:off x="-32657" y="6452313"/>
              <a:ext cx="6527800" cy="104360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9" name="Group 8"/>
          <p:cNvGrpSpPr/>
          <p:nvPr userDrawn="1"/>
        </p:nvGrpSpPr>
        <p:grpSpPr>
          <a:xfrm rot="5400000">
            <a:off x="1259186" y="-1691280"/>
            <a:ext cx="1150258" cy="4399565"/>
            <a:chOff x="1113971" y="3497757"/>
            <a:chExt cx="1150258" cy="3142530"/>
          </a:xfrm>
        </p:grpSpPr>
        <p:sp>
          <p:nvSpPr>
            <p:cNvPr id="10" name="Freeform: Shape 9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" name="Freeform: Shape 11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3" name="Freeform: Shape 12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: Shape 13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5" name="Group 14"/>
          <p:cNvGrpSpPr/>
          <p:nvPr userDrawn="1"/>
        </p:nvGrpSpPr>
        <p:grpSpPr>
          <a:xfrm>
            <a:off x="3897769" y="511147"/>
            <a:ext cx="274262" cy="274262"/>
            <a:chOff x="3766458" y="4912364"/>
            <a:chExt cx="468086" cy="468086"/>
          </a:xfrm>
        </p:grpSpPr>
        <p:sp>
          <p:nvSpPr>
            <p:cNvPr id="16" name="Oval 15"/>
            <p:cNvSpPr/>
            <p:nvPr/>
          </p:nvSpPr>
          <p:spPr>
            <a:xfrm>
              <a:off x="3766458" y="4912364"/>
              <a:ext cx="468086" cy="468086"/>
            </a:xfrm>
            <a:prstGeom prst="ellipse">
              <a:avLst/>
            </a:prstGeom>
            <a:noFill/>
            <a:ln w="19050">
              <a:solidFill>
                <a:schemeClr val="bg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Oval 16"/>
            <p:cNvSpPr/>
            <p:nvPr/>
          </p:nvSpPr>
          <p:spPr>
            <a:xfrm>
              <a:off x="3860079" y="5005985"/>
              <a:ext cx="280844" cy="280844"/>
            </a:xfrm>
            <a:prstGeom prst="ellipse">
              <a:avLst/>
            </a:prstGeom>
            <a:noFill/>
            <a:ln w="19050">
              <a:solidFill>
                <a:schemeClr val="bg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Oval 17"/>
            <p:cNvSpPr/>
            <p:nvPr/>
          </p:nvSpPr>
          <p:spPr>
            <a:xfrm>
              <a:off x="3959681" y="5105587"/>
              <a:ext cx="81640" cy="81640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9" name="Group 18"/>
          <p:cNvGrpSpPr/>
          <p:nvPr userDrawn="1"/>
        </p:nvGrpSpPr>
        <p:grpSpPr>
          <a:xfrm flipH="1">
            <a:off x="5387922" y="2675607"/>
            <a:ext cx="6879800" cy="3485708"/>
            <a:chOff x="2661557" y="1008743"/>
            <a:chExt cx="6025243" cy="1848757"/>
          </a:xfrm>
        </p:grpSpPr>
        <p:sp>
          <p:nvSpPr>
            <p:cNvPr id="20" name="Freeform: Shape 19"/>
            <p:cNvSpPr/>
            <p:nvPr/>
          </p:nvSpPr>
          <p:spPr>
            <a:xfrm>
              <a:off x="2661557" y="1008743"/>
              <a:ext cx="6025243" cy="12391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Freeform: Shape 20"/>
            <p:cNvSpPr/>
            <p:nvPr/>
          </p:nvSpPr>
          <p:spPr>
            <a:xfrm>
              <a:off x="2661557" y="1008743"/>
              <a:ext cx="6025243" cy="13915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: Shape 21"/>
            <p:cNvSpPr/>
            <p:nvPr/>
          </p:nvSpPr>
          <p:spPr>
            <a:xfrm>
              <a:off x="2661557" y="1008743"/>
              <a:ext cx="6025243" cy="15439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: Shape 22"/>
            <p:cNvSpPr/>
            <p:nvPr/>
          </p:nvSpPr>
          <p:spPr>
            <a:xfrm>
              <a:off x="2661557" y="1008743"/>
              <a:ext cx="6025243" cy="16963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: Shape 23"/>
            <p:cNvSpPr/>
            <p:nvPr/>
          </p:nvSpPr>
          <p:spPr>
            <a:xfrm>
              <a:off x="2661557" y="1008743"/>
              <a:ext cx="6025243" cy="18487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5" name="Group 24"/>
          <p:cNvGrpSpPr/>
          <p:nvPr userDrawn="1"/>
        </p:nvGrpSpPr>
        <p:grpSpPr>
          <a:xfrm>
            <a:off x="5161680" y="2470138"/>
            <a:ext cx="468086" cy="468086"/>
            <a:chOff x="3766458" y="4912364"/>
            <a:chExt cx="468086" cy="468086"/>
          </a:xfrm>
        </p:grpSpPr>
        <p:sp>
          <p:nvSpPr>
            <p:cNvPr id="26" name="Oval 25"/>
            <p:cNvSpPr/>
            <p:nvPr/>
          </p:nvSpPr>
          <p:spPr>
            <a:xfrm>
              <a:off x="3766458" y="4912364"/>
              <a:ext cx="468086" cy="468086"/>
            </a:xfrm>
            <a:prstGeom prst="ellipse">
              <a:avLst/>
            </a:prstGeom>
            <a:noFill/>
            <a:ln w="28575">
              <a:solidFill>
                <a:schemeClr val="bg1">
                  <a:alpha val="7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3860079" y="5005985"/>
              <a:ext cx="280844" cy="280844"/>
            </a:xfrm>
            <a:prstGeom prst="ellipse">
              <a:avLst/>
            </a:prstGeom>
            <a:noFill/>
            <a:ln w="28575">
              <a:solidFill>
                <a:schemeClr val="bg1">
                  <a:alpha val="7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3959681" y="5105587"/>
              <a:ext cx="81640" cy="81640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9" name="Group 28"/>
          <p:cNvGrpSpPr/>
          <p:nvPr userDrawn="1"/>
        </p:nvGrpSpPr>
        <p:grpSpPr>
          <a:xfrm rot="19175348" flipH="1">
            <a:off x="4554593" y="364683"/>
            <a:ext cx="3645245" cy="1320522"/>
            <a:chOff x="5347225" y="-195944"/>
            <a:chExt cx="3320143" cy="727076"/>
          </a:xfrm>
        </p:grpSpPr>
        <p:sp>
          <p:nvSpPr>
            <p:cNvPr id="30" name="Freeform: Shape 29"/>
            <p:cNvSpPr/>
            <p:nvPr/>
          </p:nvSpPr>
          <p:spPr>
            <a:xfrm flipV="1">
              <a:off x="5347225" y="261256"/>
              <a:ext cx="3320143" cy="2698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1" name="Freeform: Shape 30"/>
            <p:cNvSpPr/>
            <p:nvPr/>
          </p:nvSpPr>
          <p:spPr>
            <a:xfrm flipV="1">
              <a:off x="5347225" y="108856"/>
              <a:ext cx="3320143" cy="4222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2" name="Freeform: Shape 31"/>
            <p:cNvSpPr/>
            <p:nvPr/>
          </p:nvSpPr>
          <p:spPr>
            <a:xfrm flipV="1">
              <a:off x="5347225" y="-43544"/>
              <a:ext cx="3320143" cy="5746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3" name="Freeform: Shape 32"/>
            <p:cNvSpPr/>
            <p:nvPr/>
          </p:nvSpPr>
          <p:spPr>
            <a:xfrm flipV="1">
              <a:off x="5347225" y="-195944"/>
              <a:ext cx="3320143" cy="7270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34" name="Oval 33"/>
          <p:cNvSpPr/>
          <p:nvPr userDrawn="1"/>
        </p:nvSpPr>
        <p:spPr>
          <a:xfrm>
            <a:off x="1879902" y="5994991"/>
            <a:ext cx="79452" cy="79452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5" name="Oval 34"/>
          <p:cNvSpPr/>
          <p:nvPr userDrawn="1"/>
        </p:nvSpPr>
        <p:spPr>
          <a:xfrm>
            <a:off x="6371462" y="5806091"/>
            <a:ext cx="79452" cy="79452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6" name="Oval 35"/>
          <p:cNvSpPr/>
          <p:nvPr userDrawn="1"/>
        </p:nvSpPr>
        <p:spPr>
          <a:xfrm>
            <a:off x="1836477" y="3344498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7" name="Oval 36"/>
          <p:cNvSpPr/>
          <p:nvPr userDrawn="1"/>
        </p:nvSpPr>
        <p:spPr>
          <a:xfrm>
            <a:off x="871870" y="6104512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8" name="Oval 37"/>
          <p:cNvSpPr/>
          <p:nvPr userDrawn="1"/>
        </p:nvSpPr>
        <p:spPr>
          <a:xfrm>
            <a:off x="1381204" y="3209302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9" name="Oval 38"/>
          <p:cNvSpPr/>
          <p:nvPr userDrawn="1"/>
        </p:nvSpPr>
        <p:spPr>
          <a:xfrm>
            <a:off x="1577329" y="738421"/>
            <a:ext cx="69136" cy="69136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0" name="Oval 39"/>
          <p:cNvSpPr/>
          <p:nvPr userDrawn="1"/>
        </p:nvSpPr>
        <p:spPr>
          <a:xfrm>
            <a:off x="1049170" y="6443419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1791000" y="2788039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3048816" y="2896666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43" name="Group 42"/>
          <p:cNvGrpSpPr/>
          <p:nvPr userDrawn="1"/>
        </p:nvGrpSpPr>
        <p:grpSpPr>
          <a:xfrm rot="5400000">
            <a:off x="-2095598" y="1716892"/>
            <a:ext cx="5147155" cy="1686894"/>
            <a:chOff x="-32657" y="4691730"/>
            <a:chExt cx="6625100" cy="2804185"/>
          </a:xfrm>
        </p:grpSpPr>
        <p:sp>
          <p:nvSpPr>
            <p:cNvPr id="44" name="Freeform: Shape 43"/>
            <p:cNvSpPr/>
            <p:nvPr/>
          </p:nvSpPr>
          <p:spPr>
            <a:xfrm>
              <a:off x="-32657" y="4691730"/>
              <a:ext cx="6625100" cy="2687163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625100"/>
                <a:gd name="connsiteY0" fmla="*/ 1190184 h 2687163"/>
                <a:gd name="connsiteX1" fmla="*/ 765628 w 6625100"/>
                <a:gd name="connsiteY1" fmla="*/ 1865099 h 2687163"/>
                <a:gd name="connsiteX2" fmla="*/ 1531257 w 6625100"/>
                <a:gd name="connsiteY2" fmla="*/ 13 h 2687163"/>
                <a:gd name="connsiteX3" fmla="*/ 2140857 w 6625100"/>
                <a:gd name="connsiteY3" fmla="*/ 1897756 h 2687163"/>
                <a:gd name="connsiteX4" fmla="*/ 2804886 w 6625100"/>
                <a:gd name="connsiteY4" fmla="*/ 801927 h 2687163"/>
                <a:gd name="connsiteX5" fmla="*/ 3291114 w 6625100"/>
                <a:gd name="connsiteY5" fmla="*/ 1846956 h 2687163"/>
                <a:gd name="connsiteX6" fmla="*/ 3755571 w 6625100"/>
                <a:gd name="connsiteY6" fmla="*/ 1273641 h 2687163"/>
                <a:gd name="connsiteX7" fmla="*/ 4071257 w 6625100"/>
                <a:gd name="connsiteY7" fmla="*/ 1763499 h 2687163"/>
                <a:gd name="connsiteX8" fmla="*/ 4466771 w 6625100"/>
                <a:gd name="connsiteY8" fmla="*/ 399156 h 2687163"/>
                <a:gd name="connsiteX9" fmla="*/ 4858657 w 6625100"/>
                <a:gd name="connsiteY9" fmla="*/ 1357099 h 2687163"/>
                <a:gd name="connsiteX10" fmla="*/ 5148943 w 6625100"/>
                <a:gd name="connsiteY10" fmla="*/ 747499 h 2687163"/>
                <a:gd name="connsiteX11" fmla="*/ 5588000 w 6625100"/>
                <a:gd name="connsiteY11" fmla="*/ 1886870 h 2687163"/>
                <a:gd name="connsiteX12" fmla="*/ 6074228 w 6625100"/>
                <a:gd name="connsiteY12" fmla="*/ 928927 h 2687163"/>
                <a:gd name="connsiteX13" fmla="*/ 6625100 w 6625100"/>
                <a:gd name="connsiteY13" fmla="*/ 2687163 h 268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25100" h="2687163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1378" y="795545"/>
                    <a:pt x="6074228" y="928927"/>
                  </a:cubicBezTo>
                  <a:cubicBezTo>
                    <a:pt x="6247078" y="1062309"/>
                    <a:pt x="6476630" y="2043394"/>
                    <a:pt x="6625100" y="2687163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-32656" y="5183779"/>
              <a:ext cx="6586180" cy="221187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586180"/>
                <a:gd name="connsiteY0" fmla="*/ 1190184 h 2518602"/>
                <a:gd name="connsiteX1" fmla="*/ 765628 w 6586180"/>
                <a:gd name="connsiteY1" fmla="*/ 1865099 h 2518602"/>
                <a:gd name="connsiteX2" fmla="*/ 1531257 w 6586180"/>
                <a:gd name="connsiteY2" fmla="*/ 13 h 2518602"/>
                <a:gd name="connsiteX3" fmla="*/ 2140857 w 6586180"/>
                <a:gd name="connsiteY3" fmla="*/ 1897756 h 2518602"/>
                <a:gd name="connsiteX4" fmla="*/ 2804886 w 6586180"/>
                <a:gd name="connsiteY4" fmla="*/ 801927 h 2518602"/>
                <a:gd name="connsiteX5" fmla="*/ 3291114 w 6586180"/>
                <a:gd name="connsiteY5" fmla="*/ 1846956 h 2518602"/>
                <a:gd name="connsiteX6" fmla="*/ 3755571 w 6586180"/>
                <a:gd name="connsiteY6" fmla="*/ 1273641 h 2518602"/>
                <a:gd name="connsiteX7" fmla="*/ 4071257 w 6586180"/>
                <a:gd name="connsiteY7" fmla="*/ 1763499 h 2518602"/>
                <a:gd name="connsiteX8" fmla="*/ 4466771 w 6586180"/>
                <a:gd name="connsiteY8" fmla="*/ 399156 h 2518602"/>
                <a:gd name="connsiteX9" fmla="*/ 4858657 w 6586180"/>
                <a:gd name="connsiteY9" fmla="*/ 1357099 h 2518602"/>
                <a:gd name="connsiteX10" fmla="*/ 5148943 w 6586180"/>
                <a:gd name="connsiteY10" fmla="*/ 747499 h 2518602"/>
                <a:gd name="connsiteX11" fmla="*/ 5588000 w 6586180"/>
                <a:gd name="connsiteY11" fmla="*/ 1886870 h 2518602"/>
                <a:gd name="connsiteX12" fmla="*/ 6074228 w 6586180"/>
                <a:gd name="connsiteY12" fmla="*/ 928927 h 2518602"/>
                <a:gd name="connsiteX13" fmla="*/ 6586180 w 6586180"/>
                <a:gd name="connsiteY13" fmla="*/ 2518602 h 251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86180" h="2518602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7865" y="823638"/>
                    <a:pt x="6074228" y="928927"/>
                  </a:cubicBezTo>
                  <a:cubicBezTo>
                    <a:pt x="6240591" y="1034216"/>
                    <a:pt x="6437710" y="1874833"/>
                    <a:pt x="6586180" y="2518602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-32657" y="5939971"/>
              <a:ext cx="6527800" cy="147613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732971" y="6452314"/>
              <a:ext cx="5762172" cy="1043601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5762172"/>
                <a:gd name="connsiteY0" fmla="*/ 1865099 h 2282384"/>
                <a:gd name="connsiteX1" fmla="*/ 765629 w 5762172"/>
                <a:gd name="connsiteY1" fmla="*/ 13 h 2282384"/>
                <a:gd name="connsiteX2" fmla="*/ 1375229 w 5762172"/>
                <a:gd name="connsiteY2" fmla="*/ 1897756 h 2282384"/>
                <a:gd name="connsiteX3" fmla="*/ 2039258 w 5762172"/>
                <a:gd name="connsiteY3" fmla="*/ 801927 h 2282384"/>
                <a:gd name="connsiteX4" fmla="*/ 2525486 w 5762172"/>
                <a:gd name="connsiteY4" fmla="*/ 1846956 h 2282384"/>
                <a:gd name="connsiteX5" fmla="*/ 2989943 w 5762172"/>
                <a:gd name="connsiteY5" fmla="*/ 1273641 h 2282384"/>
                <a:gd name="connsiteX6" fmla="*/ 3305629 w 5762172"/>
                <a:gd name="connsiteY6" fmla="*/ 1763499 h 2282384"/>
                <a:gd name="connsiteX7" fmla="*/ 3701143 w 5762172"/>
                <a:gd name="connsiteY7" fmla="*/ 399156 h 2282384"/>
                <a:gd name="connsiteX8" fmla="*/ 4093029 w 5762172"/>
                <a:gd name="connsiteY8" fmla="*/ 1357099 h 2282384"/>
                <a:gd name="connsiteX9" fmla="*/ 4383315 w 5762172"/>
                <a:gd name="connsiteY9" fmla="*/ 747499 h 2282384"/>
                <a:gd name="connsiteX10" fmla="*/ 4822372 w 5762172"/>
                <a:gd name="connsiteY10" fmla="*/ 1886870 h 2282384"/>
                <a:gd name="connsiteX11" fmla="*/ 5308600 w 5762172"/>
                <a:gd name="connsiteY11" fmla="*/ 928927 h 2282384"/>
                <a:gd name="connsiteX12" fmla="*/ 5762172 w 5762172"/>
                <a:gd name="connsiteY12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62172" h="2282384">
                  <a:moveTo>
                    <a:pt x="0" y="1865099"/>
                  </a:moveTo>
                  <a:cubicBezTo>
                    <a:pt x="255209" y="1666737"/>
                    <a:pt x="536424" y="-5430"/>
                    <a:pt x="765629" y="13"/>
                  </a:cubicBezTo>
                  <a:cubicBezTo>
                    <a:pt x="994834" y="5456"/>
                    <a:pt x="1162957" y="1764104"/>
                    <a:pt x="1375229" y="1897756"/>
                  </a:cubicBezTo>
                  <a:cubicBezTo>
                    <a:pt x="1587501" y="2031408"/>
                    <a:pt x="1847549" y="810394"/>
                    <a:pt x="2039258" y="801927"/>
                  </a:cubicBezTo>
                  <a:cubicBezTo>
                    <a:pt x="2230967" y="793460"/>
                    <a:pt x="2367039" y="1768337"/>
                    <a:pt x="2525486" y="1846956"/>
                  </a:cubicBezTo>
                  <a:cubicBezTo>
                    <a:pt x="2683933" y="1925575"/>
                    <a:pt x="2859919" y="1287550"/>
                    <a:pt x="2989943" y="1273641"/>
                  </a:cubicBezTo>
                  <a:cubicBezTo>
                    <a:pt x="3119967" y="1259732"/>
                    <a:pt x="3187096" y="1909247"/>
                    <a:pt x="3305629" y="1763499"/>
                  </a:cubicBezTo>
                  <a:cubicBezTo>
                    <a:pt x="3424162" y="1617752"/>
                    <a:pt x="3569910" y="466889"/>
                    <a:pt x="3701143" y="399156"/>
                  </a:cubicBezTo>
                  <a:cubicBezTo>
                    <a:pt x="3832376" y="331423"/>
                    <a:pt x="3979334" y="1299042"/>
                    <a:pt x="4093029" y="1357099"/>
                  </a:cubicBezTo>
                  <a:cubicBezTo>
                    <a:pt x="4206724" y="1415156"/>
                    <a:pt x="4261758" y="659204"/>
                    <a:pt x="4383315" y="747499"/>
                  </a:cubicBezTo>
                  <a:cubicBezTo>
                    <a:pt x="4504872" y="835794"/>
                    <a:pt x="4668158" y="1856632"/>
                    <a:pt x="4822372" y="1886870"/>
                  </a:cubicBezTo>
                  <a:cubicBezTo>
                    <a:pt x="4976586" y="1917108"/>
                    <a:pt x="5151967" y="863008"/>
                    <a:pt x="5308600" y="928927"/>
                  </a:cubicBezTo>
                  <a:cubicBezTo>
                    <a:pt x="5465233" y="994846"/>
                    <a:pt x="5613702" y="1638615"/>
                    <a:pt x="5762172" y="2282384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48" name="Group 47"/>
          <p:cNvGrpSpPr/>
          <p:nvPr userDrawn="1"/>
        </p:nvGrpSpPr>
        <p:grpSpPr>
          <a:xfrm rot="4500000">
            <a:off x="733516" y="1543528"/>
            <a:ext cx="1392007" cy="3437532"/>
            <a:chOff x="1113971" y="3497757"/>
            <a:chExt cx="1150258" cy="3142530"/>
          </a:xfrm>
        </p:grpSpPr>
        <p:sp>
          <p:nvSpPr>
            <p:cNvPr id="49" name="Freeform: Shape 48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Group 52"/>
          <p:cNvGrpSpPr/>
          <p:nvPr userDrawn="1"/>
        </p:nvGrpSpPr>
        <p:grpSpPr>
          <a:xfrm rot="15300000" flipH="1">
            <a:off x="10722026" y="-306678"/>
            <a:ext cx="1590444" cy="2118297"/>
            <a:chOff x="1113971" y="3497757"/>
            <a:chExt cx="1150258" cy="3142530"/>
          </a:xfrm>
        </p:grpSpPr>
        <p:sp>
          <p:nvSpPr>
            <p:cNvPr id="54" name="Freeform: Shape 53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58" name="Oval 57"/>
          <p:cNvSpPr/>
          <p:nvPr userDrawn="1"/>
        </p:nvSpPr>
        <p:spPr>
          <a:xfrm>
            <a:off x="2214858" y="683335"/>
            <a:ext cx="69136" cy="69136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9" name="Oval 58"/>
          <p:cNvSpPr/>
          <p:nvPr userDrawn="1"/>
        </p:nvSpPr>
        <p:spPr>
          <a:xfrm>
            <a:off x="2648273" y="669742"/>
            <a:ext cx="51383" cy="5138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60" name="Group 59"/>
          <p:cNvGrpSpPr/>
          <p:nvPr userDrawn="1"/>
        </p:nvGrpSpPr>
        <p:grpSpPr>
          <a:xfrm>
            <a:off x="5756094" y="2301513"/>
            <a:ext cx="3899073" cy="1191791"/>
            <a:chOff x="5756093" y="2301512"/>
            <a:chExt cx="3899073" cy="1191791"/>
          </a:xfrm>
        </p:grpSpPr>
        <p:sp>
          <p:nvSpPr>
            <p:cNvPr id="61" name="Oval 60"/>
            <p:cNvSpPr/>
            <p:nvPr/>
          </p:nvSpPr>
          <p:spPr>
            <a:xfrm>
              <a:off x="8266386" y="2347545"/>
              <a:ext cx="254716" cy="254716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2" name="Oval 61"/>
            <p:cNvSpPr/>
            <p:nvPr/>
          </p:nvSpPr>
          <p:spPr>
            <a:xfrm>
              <a:off x="6326273" y="2776652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3" name="Oval 62"/>
            <p:cNvSpPr/>
            <p:nvPr/>
          </p:nvSpPr>
          <p:spPr>
            <a:xfrm>
              <a:off x="7275317" y="2569605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4" name="Oval 63"/>
            <p:cNvSpPr/>
            <p:nvPr/>
          </p:nvSpPr>
          <p:spPr>
            <a:xfrm>
              <a:off x="6676654" y="2855918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5" name="Oval 64"/>
            <p:cNvSpPr/>
            <p:nvPr/>
          </p:nvSpPr>
          <p:spPr>
            <a:xfrm>
              <a:off x="7021860" y="2762326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6" name="Oval 65"/>
            <p:cNvSpPr/>
            <p:nvPr/>
          </p:nvSpPr>
          <p:spPr>
            <a:xfrm>
              <a:off x="9150042" y="3113746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7" name="Oval 66"/>
            <p:cNvSpPr/>
            <p:nvPr/>
          </p:nvSpPr>
          <p:spPr>
            <a:xfrm>
              <a:off x="7521113" y="2409075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8" name="Oval 67"/>
            <p:cNvSpPr/>
            <p:nvPr/>
          </p:nvSpPr>
          <p:spPr>
            <a:xfrm>
              <a:off x="8821654" y="2895644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7911267" y="2301512"/>
              <a:ext cx="156013" cy="156013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8622432" y="2646039"/>
              <a:ext cx="156013" cy="156013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6046050" y="2698396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5756093" y="2768856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3" name="Oval 72"/>
            <p:cNvSpPr/>
            <p:nvPr/>
          </p:nvSpPr>
          <p:spPr>
            <a:xfrm>
              <a:off x="9364414" y="3258175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9609447" y="3447584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75" name="Group 74"/>
          <p:cNvGrpSpPr/>
          <p:nvPr userDrawn="1"/>
        </p:nvGrpSpPr>
        <p:grpSpPr>
          <a:xfrm rot="900000">
            <a:off x="9257656" y="2981059"/>
            <a:ext cx="3437832" cy="4758449"/>
            <a:chOff x="9385524" y="2790411"/>
            <a:chExt cx="3437832" cy="4758449"/>
          </a:xfrm>
        </p:grpSpPr>
        <p:sp>
          <p:nvSpPr>
            <p:cNvPr id="76" name="Freeform: Shape 75"/>
            <p:cNvSpPr/>
            <p:nvPr/>
          </p:nvSpPr>
          <p:spPr>
            <a:xfrm rot="1859816">
              <a:off x="9385524" y="2790411"/>
              <a:ext cx="2012192" cy="3930693"/>
            </a:xfrm>
            <a:custGeom>
              <a:avLst/>
              <a:gdLst>
                <a:gd name="connsiteX0" fmla="*/ 1226774 w 1394417"/>
                <a:gd name="connsiteY0" fmla="*/ 0 h 3497943"/>
                <a:gd name="connsiteX1" fmla="*/ 660717 w 1394417"/>
                <a:gd name="connsiteY1" fmla="*/ 254000 h 3497943"/>
                <a:gd name="connsiteX2" fmla="*/ 1299345 w 1394417"/>
                <a:gd name="connsiteY2" fmla="*/ 635000 h 3497943"/>
                <a:gd name="connsiteX3" fmla="*/ 317 w 1394417"/>
                <a:gd name="connsiteY3" fmla="*/ 1157514 h 3497943"/>
                <a:gd name="connsiteX4" fmla="*/ 1168717 w 1394417"/>
                <a:gd name="connsiteY4" fmla="*/ 2028371 h 3497943"/>
                <a:gd name="connsiteX5" fmla="*/ 504688 w 1394417"/>
                <a:gd name="connsiteY5" fmla="*/ 2630714 h 3497943"/>
                <a:gd name="connsiteX6" fmla="*/ 1379174 w 1394417"/>
                <a:gd name="connsiteY6" fmla="*/ 3066143 h 3497943"/>
                <a:gd name="connsiteX7" fmla="*/ 1081631 w 1394417"/>
                <a:gd name="connsiteY7" fmla="*/ 3334657 h 3497943"/>
                <a:gd name="connsiteX8" fmla="*/ 1357402 w 1394417"/>
                <a:gd name="connsiteY8" fmla="*/ 3497943 h 3497943"/>
                <a:gd name="connsiteX0" fmla="*/ 1406051 w 1406051"/>
                <a:gd name="connsiteY0" fmla="*/ 0 h 3542949"/>
                <a:gd name="connsiteX1" fmla="*/ 660717 w 1406051"/>
                <a:gd name="connsiteY1" fmla="*/ 299006 h 3542949"/>
                <a:gd name="connsiteX2" fmla="*/ 1299345 w 1406051"/>
                <a:gd name="connsiteY2" fmla="*/ 680006 h 3542949"/>
                <a:gd name="connsiteX3" fmla="*/ 317 w 1406051"/>
                <a:gd name="connsiteY3" fmla="*/ 1202520 h 3542949"/>
                <a:gd name="connsiteX4" fmla="*/ 1168717 w 1406051"/>
                <a:gd name="connsiteY4" fmla="*/ 2073377 h 3542949"/>
                <a:gd name="connsiteX5" fmla="*/ 504688 w 1406051"/>
                <a:gd name="connsiteY5" fmla="*/ 2675720 h 3542949"/>
                <a:gd name="connsiteX6" fmla="*/ 1379174 w 1406051"/>
                <a:gd name="connsiteY6" fmla="*/ 3111149 h 3542949"/>
                <a:gd name="connsiteX7" fmla="*/ 1081631 w 1406051"/>
                <a:gd name="connsiteY7" fmla="*/ 3379663 h 3542949"/>
                <a:gd name="connsiteX8" fmla="*/ 1357402 w 1406051"/>
                <a:gd name="connsiteY8" fmla="*/ 3542949 h 3542949"/>
                <a:gd name="connsiteX0" fmla="*/ 1406051 w 1442185"/>
                <a:gd name="connsiteY0" fmla="*/ 0 h 3633781"/>
                <a:gd name="connsiteX1" fmla="*/ 660717 w 1442185"/>
                <a:gd name="connsiteY1" fmla="*/ 299006 h 3633781"/>
                <a:gd name="connsiteX2" fmla="*/ 1299345 w 1442185"/>
                <a:gd name="connsiteY2" fmla="*/ 680006 h 3633781"/>
                <a:gd name="connsiteX3" fmla="*/ 317 w 1442185"/>
                <a:gd name="connsiteY3" fmla="*/ 1202520 h 3633781"/>
                <a:gd name="connsiteX4" fmla="*/ 1168717 w 1442185"/>
                <a:gd name="connsiteY4" fmla="*/ 2073377 h 3633781"/>
                <a:gd name="connsiteX5" fmla="*/ 504688 w 1442185"/>
                <a:gd name="connsiteY5" fmla="*/ 2675720 h 3633781"/>
                <a:gd name="connsiteX6" fmla="*/ 1379174 w 1442185"/>
                <a:gd name="connsiteY6" fmla="*/ 3111149 h 3633781"/>
                <a:gd name="connsiteX7" fmla="*/ 1081631 w 1442185"/>
                <a:gd name="connsiteY7" fmla="*/ 3379663 h 3633781"/>
                <a:gd name="connsiteX8" fmla="*/ 1442185 w 1442185"/>
                <a:gd name="connsiteY8" fmla="*/ 3633781 h 363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2185" h="3633781">
                  <a:moveTo>
                    <a:pt x="1406051" y="0"/>
                  </a:moveTo>
                  <a:cubicBezTo>
                    <a:pt x="1116975" y="74083"/>
                    <a:pt x="678501" y="185672"/>
                    <a:pt x="660717" y="299006"/>
                  </a:cubicBezTo>
                  <a:cubicBezTo>
                    <a:pt x="642933" y="412340"/>
                    <a:pt x="1409412" y="529420"/>
                    <a:pt x="1299345" y="680006"/>
                  </a:cubicBezTo>
                  <a:cubicBezTo>
                    <a:pt x="1189278" y="830592"/>
                    <a:pt x="22088" y="970292"/>
                    <a:pt x="317" y="1202520"/>
                  </a:cubicBezTo>
                  <a:cubicBezTo>
                    <a:pt x="-21454" y="1434748"/>
                    <a:pt x="1084655" y="1827844"/>
                    <a:pt x="1168717" y="2073377"/>
                  </a:cubicBezTo>
                  <a:cubicBezTo>
                    <a:pt x="1252779" y="2318910"/>
                    <a:pt x="469612" y="2502758"/>
                    <a:pt x="504688" y="2675720"/>
                  </a:cubicBezTo>
                  <a:cubicBezTo>
                    <a:pt x="539764" y="2848682"/>
                    <a:pt x="1283017" y="2993825"/>
                    <a:pt x="1379174" y="3111149"/>
                  </a:cubicBezTo>
                  <a:cubicBezTo>
                    <a:pt x="1475331" y="3228473"/>
                    <a:pt x="1071129" y="3292558"/>
                    <a:pt x="1081631" y="3379663"/>
                  </a:cubicBezTo>
                  <a:cubicBezTo>
                    <a:pt x="1092133" y="3466768"/>
                    <a:pt x="1302485" y="3588121"/>
                    <a:pt x="1442185" y="3633781"/>
                  </a:cubicBezTo>
                </a:path>
              </a:pathLst>
            </a:custGeom>
            <a:noFill/>
            <a:ln>
              <a:solidFill>
                <a:schemeClr val="bg1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grpSp>
          <p:nvGrpSpPr>
            <p:cNvPr id="77" name="Group 76"/>
            <p:cNvGrpSpPr/>
            <p:nvPr/>
          </p:nvGrpSpPr>
          <p:grpSpPr>
            <a:xfrm>
              <a:off x="9659552" y="2944459"/>
              <a:ext cx="3163804" cy="4604401"/>
              <a:chOff x="9659552" y="2944459"/>
              <a:chExt cx="3163804" cy="4604401"/>
            </a:xfrm>
          </p:grpSpPr>
          <p:sp>
            <p:nvSpPr>
              <p:cNvPr id="78" name="Oval 77"/>
              <p:cNvSpPr/>
              <p:nvPr/>
            </p:nvSpPr>
            <p:spPr>
              <a:xfrm>
                <a:off x="10823866" y="3987711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79" name="Group 78"/>
              <p:cNvGrpSpPr/>
              <p:nvPr/>
            </p:nvGrpSpPr>
            <p:grpSpPr>
              <a:xfrm>
                <a:off x="10171356" y="3779500"/>
                <a:ext cx="468086" cy="468086"/>
                <a:chOff x="3766458" y="4912364"/>
                <a:chExt cx="468086" cy="468086"/>
              </a:xfrm>
            </p:grpSpPr>
            <p:sp>
              <p:nvSpPr>
                <p:cNvPr id="103" name="Oval 102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4" name="Oval 103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5" name="Oval 104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7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80" name="Oval 79"/>
              <p:cNvSpPr/>
              <p:nvPr/>
            </p:nvSpPr>
            <p:spPr>
              <a:xfrm>
                <a:off x="11273865" y="4127326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1" name="Oval 80"/>
              <p:cNvSpPr/>
              <p:nvPr/>
            </p:nvSpPr>
            <p:spPr>
              <a:xfrm>
                <a:off x="10545821" y="4457906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2" name="Oval 81"/>
              <p:cNvSpPr/>
              <p:nvPr/>
            </p:nvSpPr>
            <p:spPr>
              <a:xfrm>
                <a:off x="10739111" y="4778511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3" name="Oval 82"/>
              <p:cNvSpPr/>
              <p:nvPr/>
            </p:nvSpPr>
            <p:spPr>
              <a:xfrm>
                <a:off x="10936920" y="5102324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4" name="Oval 83"/>
              <p:cNvSpPr/>
              <p:nvPr/>
            </p:nvSpPr>
            <p:spPr>
              <a:xfrm>
                <a:off x="11707992" y="426527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5" name="Oval 84"/>
              <p:cNvSpPr/>
              <p:nvPr/>
            </p:nvSpPr>
            <p:spPr>
              <a:xfrm>
                <a:off x="11957613" y="416105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6" name="Oval 85"/>
              <p:cNvSpPr/>
              <p:nvPr/>
            </p:nvSpPr>
            <p:spPr>
              <a:xfrm>
                <a:off x="11057753" y="5351715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7" name="Freeform: Shape 86"/>
              <p:cNvSpPr/>
              <p:nvPr/>
            </p:nvSpPr>
            <p:spPr>
              <a:xfrm rot="1859816">
                <a:off x="9942109" y="3114447"/>
                <a:ext cx="1657518" cy="3705100"/>
              </a:xfrm>
              <a:custGeom>
                <a:avLst/>
                <a:gdLst>
                  <a:gd name="connsiteX0" fmla="*/ 1226774 w 1394417"/>
                  <a:gd name="connsiteY0" fmla="*/ 0 h 3497943"/>
                  <a:gd name="connsiteX1" fmla="*/ 660717 w 1394417"/>
                  <a:gd name="connsiteY1" fmla="*/ 254000 h 3497943"/>
                  <a:gd name="connsiteX2" fmla="*/ 1299345 w 1394417"/>
                  <a:gd name="connsiteY2" fmla="*/ 635000 h 3497943"/>
                  <a:gd name="connsiteX3" fmla="*/ 317 w 1394417"/>
                  <a:gd name="connsiteY3" fmla="*/ 1157514 h 3497943"/>
                  <a:gd name="connsiteX4" fmla="*/ 1168717 w 1394417"/>
                  <a:gd name="connsiteY4" fmla="*/ 2028371 h 3497943"/>
                  <a:gd name="connsiteX5" fmla="*/ 504688 w 1394417"/>
                  <a:gd name="connsiteY5" fmla="*/ 2630714 h 3497943"/>
                  <a:gd name="connsiteX6" fmla="*/ 1379174 w 1394417"/>
                  <a:gd name="connsiteY6" fmla="*/ 3066143 h 3497943"/>
                  <a:gd name="connsiteX7" fmla="*/ 1081631 w 1394417"/>
                  <a:gd name="connsiteY7" fmla="*/ 3334657 h 3497943"/>
                  <a:gd name="connsiteX8" fmla="*/ 1357402 w 1394417"/>
                  <a:gd name="connsiteY8" fmla="*/ 3497943 h 3497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94417" h="3497943">
                    <a:moveTo>
                      <a:pt x="1226774" y="0"/>
                    </a:moveTo>
                    <a:cubicBezTo>
                      <a:pt x="937698" y="74083"/>
                      <a:pt x="648622" y="148167"/>
                      <a:pt x="660717" y="254000"/>
                    </a:cubicBezTo>
                    <a:cubicBezTo>
                      <a:pt x="672812" y="359833"/>
                      <a:pt x="1409412" y="484414"/>
                      <a:pt x="1299345" y="635000"/>
                    </a:cubicBezTo>
                    <a:cubicBezTo>
                      <a:pt x="1189278" y="785586"/>
                      <a:pt x="22088" y="925286"/>
                      <a:pt x="317" y="1157514"/>
                    </a:cubicBezTo>
                    <a:cubicBezTo>
                      <a:pt x="-21454" y="1389742"/>
                      <a:pt x="1084655" y="1782838"/>
                      <a:pt x="1168717" y="2028371"/>
                    </a:cubicBezTo>
                    <a:cubicBezTo>
                      <a:pt x="1252779" y="2273904"/>
                      <a:pt x="469612" y="2457752"/>
                      <a:pt x="504688" y="2630714"/>
                    </a:cubicBezTo>
                    <a:cubicBezTo>
                      <a:pt x="539764" y="2803676"/>
                      <a:pt x="1283017" y="2948819"/>
                      <a:pt x="1379174" y="3066143"/>
                    </a:cubicBezTo>
                    <a:cubicBezTo>
                      <a:pt x="1475331" y="3183467"/>
                      <a:pt x="1085260" y="3262690"/>
                      <a:pt x="1081631" y="3334657"/>
                    </a:cubicBezTo>
                    <a:cubicBezTo>
                      <a:pt x="1078002" y="3406624"/>
                      <a:pt x="1217702" y="3452283"/>
                      <a:pt x="1357402" y="349794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88" name="Group 87"/>
              <p:cNvGrpSpPr/>
              <p:nvPr/>
            </p:nvGrpSpPr>
            <p:grpSpPr>
              <a:xfrm>
                <a:off x="9659552" y="6255370"/>
                <a:ext cx="511804" cy="511804"/>
                <a:chOff x="3766458" y="4912364"/>
                <a:chExt cx="468086" cy="468086"/>
              </a:xfrm>
            </p:grpSpPr>
            <p:sp>
              <p:nvSpPr>
                <p:cNvPr id="100" name="Oval 99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1" name="Oval 100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2" name="Oval 101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6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89" name="Oval 88"/>
              <p:cNvSpPr/>
              <p:nvPr/>
            </p:nvSpPr>
            <p:spPr>
              <a:xfrm>
                <a:off x="10019476" y="3733781"/>
                <a:ext cx="45719" cy="45719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90" name="Group 89"/>
              <p:cNvGrpSpPr/>
              <p:nvPr/>
            </p:nvGrpSpPr>
            <p:grpSpPr>
              <a:xfrm rot="18900000" flipH="1">
                <a:off x="9997674" y="4364464"/>
                <a:ext cx="1590444" cy="3184396"/>
                <a:chOff x="1113971" y="3497757"/>
                <a:chExt cx="1150258" cy="3142530"/>
              </a:xfrm>
            </p:grpSpPr>
            <p:sp>
              <p:nvSpPr>
                <p:cNvPr id="96" name="Freeform: Shape 95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7" name="Freeform: Shape 96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8" name="Freeform: Shape 97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9" name="Freeform: Shape 98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91" name="Group 90"/>
              <p:cNvGrpSpPr/>
              <p:nvPr/>
            </p:nvGrpSpPr>
            <p:grpSpPr>
              <a:xfrm rot="7200000" flipH="1" flipV="1">
                <a:off x="10907040" y="2618587"/>
                <a:ext cx="1590444" cy="2242188"/>
                <a:chOff x="1113971" y="3497757"/>
                <a:chExt cx="1150258" cy="3142530"/>
              </a:xfrm>
            </p:grpSpPr>
            <p:sp>
              <p:nvSpPr>
                <p:cNvPr id="92" name="Freeform: Shape 91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3" name="Freeform: Shape 92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4" name="Freeform: Shape 93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5" name="Freeform: Shape 94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grpSp>
        <p:nvGrpSpPr>
          <p:cNvPr id="106" name="Group 105"/>
          <p:cNvGrpSpPr/>
          <p:nvPr userDrawn="1"/>
        </p:nvGrpSpPr>
        <p:grpSpPr>
          <a:xfrm>
            <a:off x="1476697" y="1517163"/>
            <a:ext cx="3599025" cy="1100078"/>
            <a:chOff x="5756093" y="2301512"/>
            <a:chExt cx="3899073" cy="1191791"/>
          </a:xfrm>
          <a:solidFill>
            <a:schemeClr val="bg1">
              <a:alpha val="30000"/>
            </a:schemeClr>
          </a:solidFill>
        </p:grpSpPr>
        <p:sp>
          <p:nvSpPr>
            <p:cNvPr id="107" name="Oval 106"/>
            <p:cNvSpPr/>
            <p:nvPr/>
          </p:nvSpPr>
          <p:spPr>
            <a:xfrm>
              <a:off x="8266386" y="2347545"/>
              <a:ext cx="254716" cy="254716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8" name="Oval 107"/>
            <p:cNvSpPr/>
            <p:nvPr/>
          </p:nvSpPr>
          <p:spPr>
            <a:xfrm>
              <a:off x="6326273" y="2776652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9" name="Oval 108"/>
            <p:cNvSpPr/>
            <p:nvPr/>
          </p:nvSpPr>
          <p:spPr>
            <a:xfrm>
              <a:off x="7275317" y="2569605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0" name="Oval 109"/>
            <p:cNvSpPr/>
            <p:nvPr/>
          </p:nvSpPr>
          <p:spPr>
            <a:xfrm>
              <a:off x="6676654" y="2855918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1" name="Oval 110"/>
            <p:cNvSpPr/>
            <p:nvPr/>
          </p:nvSpPr>
          <p:spPr>
            <a:xfrm>
              <a:off x="7021860" y="2762326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2" name="Oval 111"/>
            <p:cNvSpPr/>
            <p:nvPr/>
          </p:nvSpPr>
          <p:spPr>
            <a:xfrm>
              <a:off x="9150042" y="3113746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3" name="Oval 112"/>
            <p:cNvSpPr/>
            <p:nvPr/>
          </p:nvSpPr>
          <p:spPr>
            <a:xfrm>
              <a:off x="7521113" y="2409075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4" name="Oval 113"/>
            <p:cNvSpPr/>
            <p:nvPr/>
          </p:nvSpPr>
          <p:spPr>
            <a:xfrm>
              <a:off x="8821654" y="2895644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5" name="Oval 114"/>
            <p:cNvSpPr/>
            <p:nvPr/>
          </p:nvSpPr>
          <p:spPr>
            <a:xfrm>
              <a:off x="7911267" y="2301512"/>
              <a:ext cx="156013" cy="156013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6" name="Oval 115"/>
            <p:cNvSpPr/>
            <p:nvPr/>
          </p:nvSpPr>
          <p:spPr>
            <a:xfrm>
              <a:off x="8622432" y="2646039"/>
              <a:ext cx="156013" cy="156013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7" name="Oval 116"/>
            <p:cNvSpPr/>
            <p:nvPr/>
          </p:nvSpPr>
          <p:spPr>
            <a:xfrm>
              <a:off x="6046050" y="2698396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8" name="Oval 117"/>
            <p:cNvSpPr/>
            <p:nvPr/>
          </p:nvSpPr>
          <p:spPr>
            <a:xfrm>
              <a:off x="5756093" y="2768856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9" name="Oval 118"/>
            <p:cNvSpPr/>
            <p:nvPr/>
          </p:nvSpPr>
          <p:spPr>
            <a:xfrm>
              <a:off x="9364414" y="3258175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0" name="Oval 119"/>
            <p:cNvSpPr/>
            <p:nvPr/>
          </p:nvSpPr>
          <p:spPr>
            <a:xfrm>
              <a:off x="9609447" y="3447584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21" name="Group 120"/>
          <p:cNvGrpSpPr/>
          <p:nvPr userDrawn="1"/>
        </p:nvGrpSpPr>
        <p:grpSpPr>
          <a:xfrm rot="4480905">
            <a:off x="-193235" y="3476287"/>
            <a:ext cx="3437832" cy="4758449"/>
            <a:chOff x="9385524" y="2790411"/>
            <a:chExt cx="3437832" cy="4758449"/>
          </a:xfrm>
        </p:grpSpPr>
        <p:sp>
          <p:nvSpPr>
            <p:cNvPr id="122" name="Freeform: Shape 121"/>
            <p:cNvSpPr/>
            <p:nvPr/>
          </p:nvSpPr>
          <p:spPr>
            <a:xfrm rot="1859816">
              <a:off x="9385524" y="2790411"/>
              <a:ext cx="2012192" cy="3930693"/>
            </a:xfrm>
            <a:custGeom>
              <a:avLst/>
              <a:gdLst>
                <a:gd name="connsiteX0" fmla="*/ 1226774 w 1394417"/>
                <a:gd name="connsiteY0" fmla="*/ 0 h 3497943"/>
                <a:gd name="connsiteX1" fmla="*/ 660717 w 1394417"/>
                <a:gd name="connsiteY1" fmla="*/ 254000 h 3497943"/>
                <a:gd name="connsiteX2" fmla="*/ 1299345 w 1394417"/>
                <a:gd name="connsiteY2" fmla="*/ 635000 h 3497943"/>
                <a:gd name="connsiteX3" fmla="*/ 317 w 1394417"/>
                <a:gd name="connsiteY3" fmla="*/ 1157514 h 3497943"/>
                <a:gd name="connsiteX4" fmla="*/ 1168717 w 1394417"/>
                <a:gd name="connsiteY4" fmla="*/ 2028371 h 3497943"/>
                <a:gd name="connsiteX5" fmla="*/ 504688 w 1394417"/>
                <a:gd name="connsiteY5" fmla="*/ 2630714 h 3497943"/>
                <a:gd name="connsiteX6" fmla="*/ 1379174 w 1394417"/>
                <a:gd name="connsiteY6" fmla="*/ 3066143 h 3497943"/>
                <a:gd name="connsiteX7" fmla="*/ 1081631 w 1394417"/>
                <a:gd name="connsiteY7" fmla="*/ 3334657 h 3497943"/>
                <a:gd name="connsiteX8" fmla="*/ 1357402 w 1394417"/>
                <a:gd name="connsiteY8" fmla="*/ 3497943 h 3497943"/>
                <a:gd name="connsiteX0" fmla="*/ 1406051 w 1406051"/>
                <a:gd name="connsiteY0" fmla="*/ 0 h 3542949"/>
                <a:gd name="connsiteX1" fmla="*/ 660717 w 1406051"/>
                <a:gd name="connsiteY1" fmla="*/ 299006 h 3542949"/>
                <a:gd name="connsiteX2" fmla="*/ 1299345 w 1406051"/>
                <a:gd name="connsiteY2" fmla="*/ 680006 h 3542949"/>
                <a:gd name="connsiteX3" fmla="*/ 317 w 1406051"/>
                <a:gd name="connsiteY3" fmla="*/ 1202520 h 3542949"/>
                <a:gd name="connsiteX4" fmla="*/ 1168717 w 1406051"/>
                <a:gd name="connsiteY4" fmla="*/ 2073377 h 3542949"/>
                <a:gd name="connsiteX5" fmla="*/ 504688 w 1406051"/>
                <a:gd name="connsiteY5" fmla="*/ 2675720 h 3542949"/>
                <a:gd name="connsiteX6" fmla="*/ 1379174 w 1406051"/>
                <a:gd name="connsiteY6" fmla="*/ 3111149 h 3542949"/>
                <a:gd name="connsiteX7" fmla="*/ 1081631 w 1406051"/>
                <a:gd name="connsiteY7" fmla="*/ 3379663 h 3542949"/>
                <a:gd name="connsiteX8" fmla="*/ 1357402 w 1406051"/>
                <a:gd name="connsiteY8" fmla="*/ 3542949 h 3542949"/>
                <a:gd name="connsiteX0" fmla="*/ 1406051 w 1442185"/>
                <a:gd name="connsiteY0" fmla="*/ 0 h 3633781"/>
                <a:gd name="connsiteX1" fmla="*/ 660717 w 1442185"/>
                <a:gd name="connsiteY1" fmla="*/ 299006 h 3633781"/>
                <a:gd name="connsiteX2" fmla="*/ 1299345 w 1442185"/>
                <a:gd name="connsiteY2" fmla="*/ 680006 h 3633781"/>
                <a:gd name="connsiteX3" fmla="*/ 317 w 1442185"/>
                <a:gd name="connsiteY3" fmla="*/ 1202520 h 3633781"/>
                <a:gd name="connsiteX4" fmla="*/ 1168717 w 1442185"/>
                <a:gd name="connsiteY4" fmla="*/ 2073377 h 3633781"/>
                <a:gd name="connsiteX5" fmla="*/ 504688 w 1442185"/>
                <a:gd name="connsiteY5" fmla="*/ 2675720 h 3633781"/>
                <a:gd name="connsiteX6" fmla="*/ 1379174 w 1442185"/>
                <a:gd name="connsiteY6" fmla="*/ 3111149 h 3633781"/>
                <a:gd name="connsiteX7" fmla="*/ 1081631 w 1442185"/>
                <a:gd name="connsiteY7" fmla="*/ 3379663 h 3633781"/>
                <a:gd name="connsiteX8" fmla="*/ 1442185 w 1442185"/>
                <a:gd name="connsiteY8" fmla="*/ 3633781 h 363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2185" h="3633781">
                  <a:moveTo>
                    <a:pt x="1406051" y="0"/>
                  </a:moveTo>
                  <a:cubicBezTo>
                    <a:pt x="1116975" y="74083"/>
                    <a:pt x="678501" y="185672"/>
                    <a:pt x="660717" y="299006"/>
                  </a:cubicBezTo>
                  <a:cubicBezTo>
                    <a:pt x="642933" y="412340"/>
                    <a:pt x="1409412" y="529420"/>
                    <a:pt x="1299345" y="680006"/>
                  </a:cubicBezTo>
                  <a:cubicBezTo>
                    <a:pt x="1189278" y="830592"/>
                    <a:pt x="22088" y="970292"/>
                    <a:pt x="317" y="1202520"/>
                  </a:cubicBezTo>
                  <a:cubicBezTo>
                    <a:pt x="-21454" y="1434748"/>
                    <a:pt x="1084655" y="1827844"/>
                    <a:pt x="1168717" y="2073377"/>
                  </a:cubicBezTo>
                  <a:cubicBezTo>
                    <a:pt x="1252779" y="2318910"/>
                    <a:pt x="469612" y="2502758"/>
                    <a:pt x="504688" y="2675720"/>
                  </a:cubicBezTo>
                  <a:cubicBezTo>
                    <a:pt x="539764" y="2848682"/>
                    <a:pt x="1283017" y="2993825"/>
                    <a:pt x="1379174" y="3111149"/>
                  </a:cubicBezTo>
                  <a:cubicBezTo>
                    <a:pt x="1475331" y="3228473"/>
                    <a:pt x="1071129" y="3292558"/>
                    <a:pt x="1081631" y="3379663"/>
                  </a:cubicBezTo>
                  <a:cubicBezTo>
                    <a:pt x="1092133" y="3466768"/>
                    <a:pt x="1302485" y="3588121"/>
                    <a:pt x="1442185" y="3633781"/>
                  </a:cubicBezTo>
                </a:path>
              </a:pathLst>
            </a:custGeom>
            <a:noFill/>
            <a:ln>
              <a:solidFill>
                <a:schemeClr val="bg1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grpSp>
          <p:nvGrpSpPr>
            <p:cNvPr id="123" name="Group 122"/>
            <p:cNvGrpSpPr/>
            <p:nvPr/>
          </p:nvGrpSpPr>
          <p:grpSpPr>
            <a:xfrm>
              <a:off x="9659552" y="2944459"/>
              <a:ext cx="3163804" cy="4604401"/>
              <a:chOff x="9659552" y="2944459"/>
              <a:chExt cx="3163804" cy="4604401"/>
            </a:xfrm>
          </p:grpSpPr>
          <p:sp>
            <p:nvSpPr>
              <p:cNvPr id="124" name="Oval 123"/>
              <p:cNvSpPr/>
              <p:nvPr/>
            </p:nvSpPr>
            <p:spPr>
              <a:xfrm>
                <a:off x="10823866" y="3987711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25" name="Group 124"/>
              <p:cNvGrpSpPr/>
              <p:nvPr/>
            </p:nvGrpSpPr>
            <p:grpSpPr>
              <a:xfrm>
                <a:off x="10171356" y="3779500"/>
                <a:ext cx="468086" cy="468086"/>
                <a:chOff x="3766458" y="4912364"/>
                <a:chExt cx="468086" cy="468086"/>
              </a:xfrm>
            </p:grpSpPr>
            <p:sp>
              <p:nvSpPr>
                <p:cNvPr id="149" name="Oval 148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0" name="Oval 149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1" name="Oval 150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7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26" name="Oval 125"/>
              <p:cNvSpPr/>
              <p:nvPr/>
            </p:nvSpPr>
            <p:spPr>
              <a:xfrm>
                <a:off x="11273865" y="4127326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7" name="Oval 126"/>
              <p:cNvSpPr/>
              <p:nvPr/>
            </p:nvSpPr>
            <p:spPr>
              <a:xfrm>
                <a:off x="10545821" y="4457906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8" name="Oval 127"/>
              <p:cNvSpPr/>
              <p:nvPr/>
            </p:nvSpPr>
            <p:spPr>
              <a:xfrm>
                <a:off x="10739111" y="4778511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9" name="Oval 128"/>
              <p:cNvSpPr/>
              <p:nvPr/>
            </p:nvSpPr>
            <p:spPr>
              <a:xfrm>
                <a:off x="10936920" y="5102324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0" name="Oval 129"/>
              <p:cNvSpPr/>
              <p:nvPr/>
            </p:nvSpPr>
            <p:spPr>
              <a:xfrm>
                <a:off x="11707992" y="426527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1" name="Oval 130"/>
              <p:cNvSpPr/>
              <p:nvPr/>
            </p:nvSpPr>
            <p:spPr>
              <a:xfrm>
                <a:off x="11957613" y="416105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2" name="Oval 131"/>
              <p:cNvSpPr/>
              <p:nvPr/>
            </p:nvSpPr>
            <p:spPr>
              <a:xfrm>
                <a:off x="11057753" y="5351715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3" name="Freeform: Shape 132"/>
              <p:cNvSpPr/>
              <p:nvPr/>
            </p:nvSpPr>
            <p:spPr>
              <a:xfrm rot="1859816">
                <a:off x="9986645" y="3126797"/>
                <a:ext cx="1657518" cy="3532144"/>
              </a:xfrm>
              <a:custGeom>
                <a:avLst/>
                <a:gdLst>
                  <a:gd name="connsiteX0" fmla="*/ 1226774 w 1394417"/>
                  <a:gd name="connsiteY0" fmla="*/ 0 h 3497943"/>
                  <a:gd name="connsiteX1" fmla="*/ 660717 w 1394417"/>
                  <a:gd name="connsiteY1" fmla="*/ 254000 h 3497943"/>
                  <a:gd name="connsiteX2" fmla="*/ 1299345 w 1394417"/>
                  <a:gd name="connsiteY2" fmla="*/ 635000 h 3497943"/>
                  <a:gd name="connsiteX3" fmla="*/ 317 w 1394417"/>
                  <a:gd name="connsiteY3" fmla="*/ 1157514 h 3497943"/>
                  <a:gd name="connsiteX4" fmla="*/ 1168717 w 1394417"/>
                  <a:gd name="connsiteY4" fmla="*/ 2028371 h 3497943"/>
                  <a:gd name="connsiteX5" fmla="*/ 504688 w 1394417"/>
                  <a:gd name="connsiteY5" fmla="*/ 2630714 h 3497943"/>
                  <a:gd name="connsiteX6" fmla="*/ 1379174 w 1394417"/>
                  <a:gd name="connsiteY6" fmla="*/ 3066143 h 3497943"/>
                  <a:gd name="connsiteX7" fmla="*/ 1081631 w 1394417"/>
                  <a:gd name="connsiteY7" fmla="*/ 3334657 h 3497943"/>
                  <a:gd name="connsiteX8" fmla="*/ 1357402 w 1394417"/>
                  <a:gd name="connsiteY8" fmla="*/ 3497943 h 3497943"/>
                  <a:gd name="connsiteX0" fmla="*/ 1226774 w 1394417"/>
                  <a:gd name="connsiteY0" fmla="*/ 0 h 3334657"/>
                  <a:gd name="connsiteX1" fmla="*/ 660717 w 1394417"/>
                  <a:gd name="connsiteY1" fmla="*/ 254000 h 3334657"/>
                  <a:gd name="connsiteX2" fmla="*/ 1299345 w 1394417"/>
                  <a:gd name="connsiteY2" fmla="*/ 635000 h 3334657"/>
                  <a:gd name="connsiteX3" fmla="*/ 317 w 1394417"/>
                  <a:gd name="connsiteY3" fmla="*/ 1157514 h 3334657"/>
                  <a:gd name="connsiteX4" fmla="*/ 1168717 w 1394417"/>
                  <a:gd name="connsiteY4" fmla="*/ 2028371 h 3334657"/>
                  <a:gd name="connsiteX5" fmla="*/ 504688 w 1394417"/>
                  <a:gd name="connsiteY5" fmla="*/ 2630714 h 3334657"/>
                  <a:gd name="connsiteX6" fmla="*/ 1379174 w 1394417"/>
                  <a:gd name="connsiteY6" fmla="*/ 3066143 h 3334657"/>
                  <a:gd name="connsiteX7" fmla="*/ 1081631 w 1394417"/>
                  <a:gd name="connsiteY7" fmla="*/ 3334657 h 3334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4417" h="3334657">
                    <a:moveTo>
                      <a:pt x="1226774" y="0"/>
                    </a:moveTo>
                    <a:cubicBezTo>
                      <a:pt x="937698" y="74083"/>
                      <a:pt x="648622" y="148167"/>
                      <a:pt x="660717" y="254000"/>
                    </a:cubicBezTo>
                    <a:cubicBezTo>
                      <a:pt x="672812" y="359833"/>
                      <a:pt x="1409412" y="484414"/>
                      <a:pt x="1299345" y="635000"/>
                    </a:cubicBezTo>
                    <a:cubicBezTo>
                      <a:pt x="1189278" y="785586"/>
                      <a:pt x="22088" y="925286"/>
                      <a:pt x="317" y="1157514"/>
                    </a:cubicBezTo>
                    <a:cubicBezTo>
                      <a:pt x="-21454" y="1389742"/>
                      <a:pt x="1084655" y="1782838"/>
                      <a:pt x="1168717" y="2028371"/>
                    </a:cubicBezTo>
                    <a:cubicBezTo>
                      <a:pt x="1252779" y="2273904"/>
                      <a:pt x="469612" y="2457752"/>
                      <a:pt x="504688" y="2630714"/>
                    </a:cubicBezTo>
                    <a:cubicBezTo>
                      <a:pt x="539764" y="2803676"/>
                      <a:pt x="1283017" y="2948819"/>
                      <a:pt x="1379174" y="3066143"/>
                    </a:cubicBezTo>
                    <a:cubicBezTo>
                      <a:pt x="1475331" y="3183467"/>
                      <a:pt x="1085260" y="3262690"/>
                      <a:pt x="1081631" y="3334657"/>
                    </a:cubicBezTo>
                  </a:path>
                </a:pathLst>
              </a:custGeom>
              <a:noFill/>
              <a:ln>
                <a:solidFill>
                  <a:schemeClr val="bg1">
                    <a:alpha val="5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34" name="Group 133"/>
              <p:cNvGrpSpPr/>
              <p:nvPr/>
            </p:nvGrpSpPr>
            <p:grpSpPr>
              <a:xfrm>
                <a:off x="9659552" y="6255370"/>
                <a:ext cx="511804" cy="511804"/>
                <a:chOff x="3766458" y="4912364"/>
                <a:chExt cx="468086" cy="468086"/>
              </a:xfrm>
            </p:grpSpPr>
            <p:sp>
              <p:nvSpPr>
                <p:cNvPr id="146" name="Oval 145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7" name="Oval 146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8" name="Oval 147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6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35" name="Oval 134"/>
              <p:cNvSpPr/>
              <p:nvPr/>
            </p:nvSpPr>
            <p:spPr>
              <a:xfrm>
                <a:off x="10019476" y="3733781"/>
                <a:ext cx="45719" cy="45719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36" name="Group 135"/>
              <p:cNvGrpSpPr/>
              <p:nvPr/>
            </p:nvGrpSpPr>
            <p:grpSpPr>
              <a:xfrm rot="18900000" flipH="1">
                <a:off x="9997674" y="4364464"/>
                <a:ext cx="1590444" cy="3184396"/>
                <a:chOff x="1113971" y="3497757"/>
                <a:chExt cx="1150258" cy="3142530"/>
              </a:xfrm>
            </p:grpSpPr>
            <p:sp>
              <p:nvSpPr>
                <p:cNvPr id="142" name="Freeform: Shape 141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3" name="Freeform: Shape 142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4" name="Freeform: Shape 143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5" name="Freeform: Shape 144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37" name="Group 136"/>
              <p:cNvGrpSpPr/>
              <p:nvPr/>
            </p:nvGrpSpPr>
            <p:grpSpPr>
              <a:xfrm rot="7200000" flipH="1" flipV="1">
                <a:off x="10907040" y="2618587"/>
                <a:ext cx="1590444" cy="2242188"/>
                <a:chOff x="1113971" y="3497757"/>
                <a:chExt cx="1150258" cy="3142530"/>
              </a:xfrm>
            </p:grpSpPr>
            <p:sp>
              <p:nvSpPr>
                <p:cNvPr id="138" name="Freeform: Shape 137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9" name="Freeform: Shape 138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0" name="Freeform: Shape 139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1" name="Freeform: Shape 140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grpSp>
        <p:nvGrpSpPr>
          <p:cNvPr id="152" name="Group 151"/>
          <p:cNvGrpSpPr/>
          <p:nvPr userDrawn="1"/>
        </p:nvGrpSpPr>
        <p:grpSpPr>
          <a:xfrm rot="21444120" flipH="1">
            <a:off x="10234111" y="-501857"/>
            <a:ext cx="2326374" cy="4134470"/>
            <a:chOff x="-213066" y="2126266"/>
            <a:chExt cx="2326374" cy="4134470"/>
          </a:xfrm>
        </p:grpSpPr>
        <p:grpSp>
          <p:nvGrpSpPr>
            <p:cNvPr id="153" name="Group 152"/>
            <p:cNvGrpSpPr/>
            <p:nvPr/>
          </p:nvGrpSpPr>
          <p:grpSpPr>
            <a:xfrm rot="5400000">
              <a:off x="-1021470" y="3125958"/>
              <a:ext cx="4134470" cy="2135086"/>
              <a:chOff x="2108201" y="5087492"/>
              <a:chExt cx="4484244" cy="2408425"/>
            </a:xfrm>
          </p:grpSpPr>
          <p:sp>
            <p:nvSpPr>
              <p:cNvPr id="159" name="Freeform: Shape 158"/>
              <p:cNvSpPr/>
              <p:nvPr/>
            </p:nvSpPr>
            <p:spPr>
              <a:xfrm>
                <a:off x="2108202" y="5087492"/>
                <a:ext cx="4484243" cy="2291402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625100"/>
                  <a:gd name="connsiteY0" fmla="*/ 1190184 h 2687163"/>
                  <a:gd name="connsiteX1" fmla="*/ 765628 w 6625100"/>
                  <a:gd name="connsiteY1" fmla="*/ 1865099 h 2687163"/>
                  <a:gd name="connsiteX2" fmla="*/ 1531257 w 6625100"/>
                  <a:gd name="connsiteY2" fmla="*/ 13 h 2687163"/>
                  <a:gd name="connsiteX3" fmla="*/ 2140857 w 6625100"/>
                  <a:gd name="connsiteY3" fmla="*/ 1897756 h 2687163"/>
                  <a:gd name="connsiteX4" fmla="*/ 2804886 w 6625100"/>
                  <a:gd name="connsiteY4" fmla="*/ 801927 h 2687163"/>
                  <a:gd name="connsiteX5" fmla="*/ 3291114 w 6625100"/>
                  <a:gd name="connsiteY5" fmla="*/ 1846956 h 2687163"/>
                  <a:gd name="connsiteX6" fmla="*/ 3755571 w 6625100"/>
                  <a:gd name="connsiteY6" fmla="*/ 1273641 h 2687163"/>
                  <a:gd name="connsiteX7" fmla="*/ 4071257 w 6625100"/>
                  <a:gd name="connsiteY7" fmla="*/ 1763499 h 2687163"/>
                  <a:gd name="connsiteX8" fmla="*/ 4466771 w 6625100"/>
                  <a:gd name="connsiteY8" fmla="*/ 399156 h 2687163"/>
                  <a:gd name="connsiteX9" fmla="*/ 4858657 w 6625100"/>
                  <a:gd name="connsiteY9" fmla="*/ 1357099 h 2687163"/>
                  <a:gd name="connsiteX10" fmla="*/ 5148943 w 6625100"/>
                  <a:gd name="connsiteY10" fmla="*/ 747499 h 2687163"/>
                  <a:gd name="connsiteX11" fmla="*/ 5588000 w 6625100"/>
                  <a:gd name="connsiteY11" fmla="*/ 1886870 h 2687163"/>
                  <a:gd name="connsiteX12" fmla="*/ 6074228 w 6625100"/>
                  <a:gd name="connsiteY12" fmla="*/ 928927 h 2687163"/>
                  <a:gd name="connsiteX13" fmla="*/ 6625100 w 6625100"/>
                  <a:gd name="connsiteY13" fmla="*/ 2687163 h 2687163"/>
                  <a:gd name="connsiteX0" fmla="*/ 0 w 5859472"/>
                  <a:gd name="connsiteY0" fmla="*/ 1865099 h 2687163"/>
                  <a:gd name="connsiteX1" fmla="*/ 765629 w 5859472"/>
                  <a:gd name="connsiteY1" fmla="*/ 13 h 2687163"/>
                  <a:gd name="connsiteX2" fmla="*/ 1375229 w 5859472"/>
                  <a:gd name="connsiteY2" fmla="*/ 1897756 h 2687163"/>
                  <a:gd name="connsiteX3" fmla="*/ 2039258 w 5859472"/>
                  <a:gd name="connsiteY3" fmla="*/ 801927 h 2687163"/>
                  <a:gd name="connsiteX4" fmla="*/ 2525486 w 5859472"/>
                  <a:gd name="connsiteY4" fmla="*/ 1846956 h 2687163"/>
                  <a:gd name="connsiteX5" fmla="*/ 2989943 w 5859472"/>
                  <a:gd name="connsiteY5" fmla="*/ 1273641 h 2687163"/>
                  <a:gd name="connsiteX6" fmla="*/ 3305629 w 5859472"/>
                  <a:gd name="connsiteY6" fmla="*/ 1763499 h 2687163"/>
                  <a:gd name="connsiteX7" fmla="*/ 3701143 w 5859472"/>
                  <a:gd name="connsiteY7" fmla="*/ 399156 h 2687163"/>
                  <a:gd name="connsiteX8" fmla="*/ 4093029 w 5859472"/>
                  <a:gd name="connsiteY8" fmla="*/ 1357099 h 2687163"/>
                  <a:gd name="connsiteX9" fmla="*/ 4383315 w 5859472"/>
                  <a:gd name="connsiteY9" fmla="*/ 747499 h 2687163"/>
                  <a:gd name="connsiteX10" fmla="*/ 4822372 w 5859472"/>
                  <a:gd name="connsiteY10" fmla="*/ 1886870 h 2687163"/>
                  <a:gd name="connsiteX11" fmla="*/ 5308600 w 5859472"/>
                  <a:gd name="connsiteY11" fmla="*/ 928927 h 2687163"/>
                  <a:gd name="connsiteX12" fmla="*/ 5859472 w 5859472"/>
                  <a:gd name="connsiteY12" fmla="*/ 2687163 h 2687163"/>
                  <a:gd name="connsiteX0" fmla="*/ -1 w 5093842"/>
                  <a:gd name="connsiteY0" fmla="*/ -1 h 2687149"/>
                  <a:gd name="connsiteX1" fmla="*/ 609599 w 5093842"/>
                  <a:gd name="connsiteY1" fmla="*/ 1897742 h 2687149"/>
                  <a:gd name="connsiteX2" fmla="*/ 1273628 w 5093842"/>
                  <a:gd name="connsiteY2" fmla="*/ 801913 h 2687149"/>
                  <a:gd name="connsiteX3" fmla="*/ 1759856 w 5093842"/>
                  <a:gd name="connsiteY3" fmla="*/ 1846942 h 2687149"/>
                  <a:gd name="connsiteX4" fmla="*/ 2224313 w 5093842"/>
                  <a:gd name="connsiteY4" fmla="*/ 1273627 h 2687149"/>
                  <a:gd name="connsiteX5" fmla="*/ 2539999 w 5093842"/>
                  <a:gd name="connsiteY5" fmla="*/ 1763485 h 2687149"/>
                  <a:gd name="connsiteX6" fmla="*/ 2935513 w 5093842"/>
                  <a:gd name="connsiteY6" fmla="*/ 399142 h 2687149"/>
                  <a:gd name="connsiteX7" fmla="*/ 3327399 w 5093842"/>
                  <a:gd name="connsiteY7" fmla="*/ 1357085 h 2687149"/>
                  <a:gd name="connsiteX8" fmla="*/ 3617685 w 5093842"/>
                  <a:gd name="connsiteY8" fmla="*/ 747485 h 2687149"/>
                  <a:gd name="connsiteX9" fmla="*/ 4056742 w 5093842"/>
                  <a:gd name="connsiteY9" fmla="*/ 1886856 h 2687149"/>
                  <a:gd name="connsiteX10" fmla="*/ 4542970 w 5093842"/>
                  <a:gd name="connsiteY10" fmla="*/ 928913 h 2687149"/>
                  <a:gd name="connsiteX11" fmla="*/ 5093842 w 5093842"/>
                  <a:gd name="connsiteY11" fmla="*/ 2687149 h 2687149"/>
                  <a:gd name="connsiteX0" fmla="*/ 0 w 4484243"/>
                  <a:gd name="connsiteY0" fmla="*/ 1501995 h 2291402"/>
                  <a:gd name="connsiteX1" fmla="*/ 664029 w 4484243"/>
                  <a:gd name="connsiteY1" fmla="*/ 406166 h 2291402"/>
                  <a:gd name="connsiteX2" fmla="*/ 1150257 w 4484243"/>
                  <a:gd name="connsiteY2" fmla="*/ 1451195 h 2291402"/>
                  <a:gd name="connsiteX3" fmla="*/ 1614714 w 4484243"/>
                  <a:gd name="connsiteY3" fmla="*/ 877880 h 2291402"/>
                  <a:gd name="connsiteX4" fmla="*/ 1930400 w 4484243"/>
                  <a:gd name="connsiteY4" fmla="*/ 1367738 h 2291402"/>
                  <a:gd name="connsiteX5" fmla="*/ 2325914 w 4484243"/>
                  <a:gd name="connsiteY5" fmla="*/ 3395 h 2291402"/>
                  <a:gd name="connsiteX6" fmla="*/ 2717800 w 4484243"/>
                  <a:gd name="connsiteY6" fmla="*/ 961338 h 2291402"/>
                  <a:gd name="connsiteX7" fmla="*/ 3008086 w 4484243"/>
                  <a:gd name="connsiteY7" fmla="*/ 351738 h 2291402"/>
                  <a:gd name="connsiteX8" fmla="*/ 3447143 w 4484243"/>
                  <a:gd name="connsiteY8" fmla="*/ 1491109 h 2291402"/>
                  <a:gd name="connsiteX9" fmla="*/ 3933371 w 4484243"/>
                  <a:gd name="connsiteY9" fmla="*/ 533166 h 2291402"/>
                  <a:gd name="connsiteX10" fmla="*/ 4484243 w 4484243"/>
                  <a:gd name="connsiteY10" fmla="*/ 2291402 h 2291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84243" h="2291402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60521" y="399784"/>
                      <a:pt x="3933371" y="533166"/>
                    </a:cubicBezTo>
                    <a:cubicBezTo>
                      <a:pt x="4106221" y="666548"/>
                      <a:pt x="4335773" y="1647633"/>
                      <a:pt x="4484243" y="2291402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60" name="Freeform: Shape 159"/>
              <p:cNvSpPr/>
              <p:nvPr/>
            </p:nvSpPr>
            <p:spPr>
              <a:xfrm>
                <a:off x="2108202" y="5531345"/>
                <a:ext cx="4445322" cy="1864309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86180"/>
                  <a:gd name="connsiteY0" fmla="*/ 1190184 h 2518602"/>
                  <a:gd name="connsiteX1" fmla="*/ 765628 w 6586180"/>
                  <a:gd name="connsiteY1" fmla="*/ 1865099 h 2518602"/>
                  <a:gd name="connsiteX2" fmla="*/ 1531257 w 6586180"/>
                  <a:gd name="connsiteY2" fmla="*/ 13 h 2518602"/>
                  <a:gd name="connsiteX3" fmla="*/ 2140857 w 6586180"/>
                  <a:gd name="connsiteY3" fmla="*/ 1897756 h 2518602"/>
                  <a:gd name="connsiteX4" fmla="*/ 2804886 w 6586180"/>
                  <a:gd name="connsiteY4" fmla="*/ 801927 h 2518602"/>
                  <a:gd name="connsiteX5" fmla="*/ 3291114 w 6586180"/>
                  <a:gd name="connsiteY5" fmla="*/ 1846956 h 2518602"/>
                  <a:gd name="connsiteX6" fmla="*/ 3755571 w 6586180"/>
                  <a:gd name="connsiteY6" fmla="*/ 1273641 h 2518602"/>
                  <a:gd name="connsiteX7" fmla="*/ 4071257 w 6586180"/>
                  <a:gd name="connsiteY7" fmla="*/ 1763499 h 2518602"/>
                  <a:gd name="connsiteX8" fmla="*/ 4466771 w 6586180"/>
                  <a:gd name="connsiteY8" fmla="*/ 399156 h 2518602"/>
                  <a:gd name="connsiteX9" fmla="*/ 4858657 w 6586180"/>
                  <a:gd name="connsiteY9" fmla="*/ 1357099 h 2518602"/>
                  <a:gd name="connsiteX10" fmla="*/ 5148943 w 6586180"/>
                  <a:gd name="connsiteY10" fmla="*/ 747499 h 2518602"/>
                  <a:gd name="connsiteX11" fmla="*/ 5588000 w 6586180"/>
                  <a:gd name="connsiteY11" fmla="*/ 1886870 h 2518602"/>
                  <a:gd name="connsiteX12" fmla="*/ 6074228 w 6586180"/>
                  <a:gd name="connsiteY12" fmla="*/ 928927 h 2518602"/>
                  <a:gd name="connsiteX13" fmla="*/ 6586180 w 6586180"/>
                  <a:gd name="connsiteY13" fmla="*/ 2518602 h 2518602"/>
                  <a:gd name="connsiteX0" fmla="*/ 0 w 5820552"/>
                  <a:gd name="connsiteY0" fmla="*/ 1865099 h 2518602"/>
                  <a:gd name="connsiteX1" fmla="*/ 765629 w 5820552"/>
                  <a:gd name="connsiteY1" fmla="*/ 13 h 2518602"/>
                  <a:gd name="connsiteX2" fmla="*/ 1375229 w 5820552"/>
                  <a:gd name="connsiteY2" fmla="*/ 1897756 h 2518602"/>
                  <a:gd name="connsiteX3" fmla="*/ 2039258 w 5820552"/>
                  <a:gd name="connsiteY3" fmla="*/ 801927 h 2518602"/>
                  <a:gd name="connsiteX4" fmla="*/ 2525486 w 5820552"/>
                  <a:gd name="connsiteY4" fmla="*/ 1846956 h 2518602"/>
                  <a:gd name="connsiteX5" fmla="*/ 2989943 w 5820552"/>
                  <a:gd name="connsiteY5" fmla="*/ 1273641 h 2518602"/>
                  <a:gd name="connsiteX6" fmla="*/ 3305629 w 5820552"/>
                  <a:gd name="connsiteY6" fmla="*/ 1763499 h 2518602"/>
                  <a:gd name="connsiteX7" fmla="*/ 3701143 w 5820552"/>
                  <a:gd name="connsiteY7" fmla="*/ 399156 h 2518602"/>
                  <a:gd name="connsiteX8" fmla="*/ 4093029 w 5820552"/>
                  <a:gd name="connsiteY8" fmla="*/ 1357099 h 2518602"/>
                  <a:gd name="connsiteX9" fmla="*/ 4383315 w 5820552"/>
                  <a:gd name="connsiteY9" fmla="*/ 747499 h 2518602"/>
                  <a:gd name="connsiteX10" fmla="*/ 4822372 w 5820552"/>
                  <a:gd name="connsiteY10" fmla="*/ 1886870 h 2518602"/>
                  <a:gd name="connsiteX11" fmla="*/ 5308600 w 5820552"/>
                  <a:gd name="connsiteY11" fmla="*/ 928927 h 2518602"/>
                  <a:gd name="connsiteX12" fmla="*/ 5820552 w 5820552"/>
                  <a:gd name="connsiteY12" fmla="*/ 2518602 h 2518602"/>
                  <a:gd name="connsiteX0" fmla="*/ 0 w 5054923"/>
                  <a:gd name="connsiteY0" fmla="*/ 0 h 2518589"/>
                  <a:gd name="connsiteX1" fmla="*/ 609600 w 5054923"/>
                  <a:gd name="connsiteY1" fmla="*/ 1897743 h 2518589"/>
                  <a:gd name="connsiteX2" fmla="*/ 1273629 w 5054923"/>
                  <a:gd name="connsiteY2" fmla="*/ 801914 h 2518589"/>
                  <a:gd name="connsiteX3" fmla="*/ 1759857 w 5054923"/>
                  <a:gd name="connsiteY3" fmla="*/ 1846943 h 2518589"/>
                  <a:gd name="connsiteX4" fmla="*/ 2224314 w 5054923"/>
                  <a:gd name="connsiteY4" fmla="*/ 1273628 h 2518589"/>
                  <a:gd name="connsiteX5" fmla="*/ 2540000 w 5054923"/>
                  <a:gd name="connsiteY5" fmla="*/ 1763486 h 2518589"/>
                  <a:gd name="connsiteX6" fmla="*/ 2935514 w 5054923"/>
                  <a:gd name="connsiteY6" fmla="*/ 399143 h 2518589"/>
                  <a:gd name="connsiteX7" fmla="*/ 3327400 w 5054923"/>
                  <a:gd name="connsiteY7" fmla="*/ 1357086 h 2518589"/>
                  <a:gd name="connsiteX8" fmla="*/ 3617686 w 5054923"/>
                  <a:gd name="connsiteY8" fmla="*/ 747486 h 2518589"/>
                  <a:gd name="connsiteX9" fmla="*/ 4056743 w 5054923"/>
                  <a:gd name="connsiteY9" fmla="*/ 1886857 h 2518589"/>
                  <a:gd name="connsiteX10" fmla="*/ 4542971 w 5054923"/>
                  <a:gd name="connsiteY10" fmla="*/ 928914 h 2518589"/>
                  <a:gd name="connsiteX11" fmla="*/ 5054923 w 5054923"/>
                  <a:gd name="connsiteY11" fmla="*/ 2518589 h 2518589"/>
                  <a:gd name="connsiteX0" fmla="*/ 0 w 4445323"/>
                  <a:gd name="connsiteY0" fmla="*/ 1501995 h 2122841"/>
                  <a:gd name="connsiteX1" fmla="*/ 664029 w 4445323"/>
                  <a:gd name="connsiteY1" fmla="*/ 406166 h 2122841"/>
                  <a:gd name="connsiteX2" fmla="*/ 1150257 w 4445323"/>
                  <a:gd name="connsiteY2" fmla="*/ 1451195 h 2122841"/>
                  <a:gd name="connsiteX3" fmla="*/ 1614714 w 4445323"/>
                  <a:gd name="connsiteY3" fmla="*/ 877880 h 2122841"/>
                  <a:gd name="connsiteX4" fmla="*/ 1930400 w 4445323"/>
                  <a:gd name="connsiteY4" fmla="*/ 1367738 h 2122841"/>
                  <a:gd name="connsiteX5" fmla="*/ 2325914 w 4445323"/>
                  <a:gd name="connsiteY5" fmla="*/ 3395 h 2122841"/>
                  <a:gd name="connsiteX6" fmla="*/ 2717800 w 4445323"/>
                  <a:gd name="connsiteY6" fmla="*/ 961338 h 2122841"/>
                  <a:gd name="connsiteX7" fmla="*/ 3008086 w 4445323"/>
                  <a:gd name="connsiteY7" fmla="*/ 351738 h 2122841"/>
                  <a:gd name="connsiteX8" fmla="*/ 3447143 w 4445323"/>
                  <a:gd name="connsiteY8" fmla="*/ 1491109 h 2122841"/>
                  <a:gd name="connsiteX9" fmla="*/ 3933371 w 4445323"/>
                  <a:gd name="connsiteY9" fmla="*/ 533166 h 2122841"/>
                  <a:gd name="connsiteX10" fmla="*/ 4445323 w 4445323"/>
                  <a:gd name="connsiteY10" fmla="*/ 2122841 h 212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45323" h="2122841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67008" y="427877"/>
                      <a:pt x="3933371" y="533166"/>
                    </a:cubicBezTo>
                    <a:cubicBezTo>
                      <a:pt x="4099734" y="638455"/>
                      <a:pt x="4296853" y="1479072"/>
                      <a:pt x="4445323" y="2122841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61" name="Freeform: Shape 160"/>
              <p:cNvSpPr/>
              <p:nvPr/>
            </p:nvSpPr>
            <p:spPr>
              <a:xfrm>
                <a:off x="2108201" y="6195930"/>
                <a:ext cx="4386943" cy="1220173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0 w 4996543"/>
                  <a:gd name="connsiteY0" fmla="*/ 1 h 2282372"/>
                  <a:gd name="connsiteX1" fmla="*/ 609600 w 4996543"/>
                  <a:gd name="connsiteY1" fmla="*/ 1897744 h 2282372"/>
                  <a:gd name="connsiteX2" fmla="*/ 1273629 w 4996543"/>
                  <a:gd name="connsiteY2" fmla="*/ 801915 h 2282372"/>
                  <a:gd name="connsiteX3" fmla="*/ 1759857 w 4996543"/>
                  <a:gd name="connsiteY3" fmla="*/ 1846944 h 2282372"/>
                  <a:gd name="connsiteX4" fmla="*/ 2224314 w 4996543"/>
                  <a:gd name="connsiteY4" fmla="*/ 1273629 h 2282372"/>
                  <a:gd name="connsiteX5" fmla="*/ 2540000 w 4996543"/>
                  <a:gd name="connsiteY5" fmla="*/ 1763487 h 2282372"/>
                  <a:gd name="connsiteX6" fmla="*/ 2935514 w 4996543"/>
                  <a:gd name="connsiteY6" fmla="*/ 399144 h 2282372"/>
                  <a:gd name="connsiteX7" fmla="*/ 3327400 w 4996543"/>
                  <a:gd name="connsiteY7" fmla="*/ 1357087 h 2282372"/>
                  <a:gd name="connsiteX8" fmla="*/ 3617686 w 4996543"/>
                  <a:gd name="connsiteY8" fmla="*/ 747487 h 2282372"/>
                  <a:gd name="connsiteX9" fmla="*/ 4056743 w 4996543"/>
                  <a:gd name="connsiteY9" fmla="*/ 1886858 h 2282372"/>
                  <a:gd name="connsiteX10" fmla="*/ 4542971 w 4996543"/>
                  <a:gd name="connsiteY10" fmla="*/ 928915 h 2282372"/>
                  <a:gd name="connsiteX11" fmla="*/ 4996543 w 4996543"/>
                  <a:gd name="connsiteY11" fmla="*/ 2282372 h 2282372"/>
                  <a:gd name="connsiteX0" fmla="*/ 0 w 4386943"/>
                  <a:gd name="connsiteY0" fmla="*/ 1501995 h 1886623"/>
                  <a:gd name="connsiteX1" fmla="*/ 664029 w 4386943"/>
                  <a:gd name="connsiteY1" fmla="*/ 406166 h 1886623"/>
                  <a:gd name="connsiteX2" fmla="*/ 1150257 w 4386943"/>
                  <a:gd name="connsiteY2" fmla="*/ 1451195 h 1886623"/>
                  <a:gd name="connsiteX3" fmla="*/ 1614714 w 4386943"/>
                  <a:gd name="connsiteY3" fmla="*/ 877880 h 1886623"/>
                  <a:gd name="connsiteX4" fmla="*/ 1930400 w 4386943"/>
                  <a:gd name="connsiteY4" fmla="*/ 1367738 h 1886623"/>
                  <a:gd name="connsiteX5" fmla="*/ 2325914 w 4386943"/>
                  <a:gd name="connsiteY5" fmla="*/ 3395 h 1886623"/>
                  <a:gd name="connsiteX6" fmla="*/ 2717800 w 4386943"/>
                  <a:gd name="connsiteY6" fmla="*/ 961338 h 1886623"/>
                  <a:gd name="connsiteX7" fmla="*/ 3008086 w 4386943"/>
                  <a:gd name="connsiteY7" fmla="*/ 351738 h 1886623"/>
                  <a:gd name="connsiteX8" fmla="*/ 3447143 w 4386943"/>
                  <a:gd name="connsiteY8" fmla="*/ 1491109 h 1886623"/>
                  <a:gd name="connsiteX9" fmla="*/ 3933371 w 4386943"/>
                  <a:gd name="connsiteY9" fmla="*/ 533166 h 1886623"/>
                  <a:gd name="connsiteX10" fmla="*/ 4386943 w 4386943"/>
                  <a:gd name="connsiteY10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386943" h="1886623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76738" y="467247"/>
                      <a:pt x="3933371" y="533166"/>
                    </a:cubicBezTo>
                    <a:cubicBezTo>
                      <a:pt x="4090004" y="599085"/>
                      <a:pt x="4238473" y="1242854"/>
                      <a:pt x="4386943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62" name="Freeform: Shape 161"/>
              <p:cNvSpPr/>
              <p:nvPr/>
            </p:nvSpPr>
            <p:spPr>
              <a:xfrm>
                <a:off x="2108201" y="6633272"/>
                <a:ext cx="4386943" cy="862645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0 w 4996543"/>
                  <a:gd name="connsiteY0" fmla="*/ 1 h 2282372"/>
                  <a:gd name="connsiteX1" fmla="*/ 609600 w 4996543"/>
                  <a:gd name="connsiteY1" fmla="*/ 1897744 h 2282372"/>
                  <a:gd name="connsiteX2" fmla="*/ 1273629 w 4996543"/>
                  <a:gd name="connsiteY2" fmla="*/ 801915 h 2282372"/>
                  <a:gd name="connsiteX3" fmla="*/ 1759857 w 4996543"/>
                  <a:gd name="connsiteY3" fmla="*/ 1846944 h 2282372"/>
                  <a:gd name="connsiteX4" fmla="*/ 2224314 w 4996543"/>
                  <a:gd name="connsiteY4" fmla="*/ 1273629 h 2282372"/>
                  <a:gd name="connsiteX5" fmla="*/ 2540000 w 4996543"/>
                  <a:gd name="connsiteY5" fmla="*/ 1763487 h 2282372"/>
                  <a:gd name="connsiteX6" fmla="*/ 2935514 w 4996543"/>
                  <a:gd name="connsiteY6" fmla="*/ 399144 h 2282372"/>
                  <a:gd name="connsiteX7" fmla="*/ 3327400 w 4996543"/>
                  <a:gd name="connsiteY7" fmla="*/ 1357087 h 2282372"/>
                  <a:gd name="connsiteX8" fmla="*/ 3617686 w 4996543"/>
                  <a:gd name="connsiteY8" fmla="*/ 747487 h 2282372"/>
                  <a:gd name="connsiteX9" fmla="*/ 4056743 w 4996543"/>
                  <a:gd name="connsiteY9" fmla="*/ 1886858 h 2282372"/>
                  <a:gd name="connsiteX10" fmla="*/ 4542971 w 4996543"/>
                  <a:gd name="connsiteY10" fmla="*/ 928915 h 2282372"/>
                  <a:gd name="connsiteX11" fmla="*/ 4996543 w 4996543"/>
                  <a:gd name="connsiteY11" fmla="*/ 2282372 h 2282372"/>
                  <a:gd name="connsiteX0" fmla="*/ 0 w 4386943"/>
                  <a:gd name="connsiteY0" fmla="*/ 1501996 h 1886624"/>
                  <a:gd name="connsiteX1" fmla="*/ 664029 w 4386943"/>
                  <a:gd name="connsiteY1" fmla="*/ 406167 h 1886624"/>
                  <a:gd name="connsiteX2" fmla="*/ 1150257 w 4386943"/>
                  <a:gd name="connsiteY2" fmla="*/ 1451196 h 1886624"/>
                  <a:gd name="connsiteX3" fmla="*/ 1614714 w 4386943"/>
                  <a:gd name="connsiteY3" fmla="*/ 877881 h 1886624"/>
                  <a:gd name="connsiteX4" fmla="*/ 1930400 w 4386943"/>
                  <a:gd name="connsiteY4" fmla="*/ 1367739 h 1886624"/>
                  <a:gd name="connsiteX5" fmla="*/ 2325914 w 4386943"/>
                  <a:gd name="connsiteY5" fmla="*/ 3396 h 1886624"/>
                  <a:gd name="connsiteX6" fmla="*/ 2717800 w 4386943"/>
                  <a:gd name="connsiteY6" fmla="*/ 961339 h 1886624"/>
                  <a:gd name="connsiteX7" fmla="*/ 3008086 w 4386943"/>
                  <a:gd name="connsiteY7" fmla="*/ 351739 h 1886624"/>
                  <a:gd name="connsiteX8" fmla="*/ 3447143 w 4386943"/>
                  <a:gd name="connsiteY8" fmla="*/ 1491110 h 1886624"/>
                  <a:gd name="connsiteX9" fmla="*/ 3933371 w 4386943"/>
                  <a:gd name="connsiteY9" fmla="*/ 533167 h 1886624"/>
                  <a:gd name="connsiteX10" fmla="*/ 4386943 w 4386943"/>
                  <a:gd name="connsiteY10" fmla="*/ 1886624 h 1886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386943" h="1886624">
                    <a:moveTo>
                      <a:pt x="0" y="1501996"/>
                    </a:moveTo>
                    <a:cubicBezTo>
                      <a:pt x="212272" y="1635648"/>
                      <a:pt x="472320" y="414634"/>
                      <a:pt x="664029" y="406167"/>
                    </a:cubicBezTo>
                    <a:cubicBezTo>
                      <a:pt x="855738" y="397700"/>
                      <a:pt x="991810" y="1372577"/>
                      <a:pt x="1150257" y="1451196"/>
                    </a:cubicBezTo>
                    <a:cubicBezTo>
                      <a:pt x="1308704" y="1529815"/>
                      <a:pt x="1484690" y="891790"/>
                      <a:pt x="1614714" y="877881"/>
                    </a:cubicBezTo>
                    <a:cubicBezTo>
                      <a:pt x="1744738" y="863972"/>
                      <a:pt x="1811867" y="1513487"/>
                      <a:pt x="1930400" y="1367739"/>
                    </a:cubicBezTo>
                    <a:cubicBezTo>
                      <a:pt x="2048933" y="1221992"/>
                      <a:pt x="2194681" y="71129"/>
                      <a:pt x="2325914" y="3396"/>
                    </a:cubicBezTo>
                    <a:cubicBezTo>
                      <a:pt x="2457147" y="-64337"/>
                      <a:pt x="2604105" y="903282"/>
                      <a:pt x="2717800" y="961339"/>
                    </a:cubicBezTo>
                    <a:cubicBezTo>
                      <a:pt x="2831495" y="1019396"/>
                      <a:pt x="2886529" y="263444"/>
                      <a:pt x="3008086" y="351739"/>
                    </a:cubicBezTo>
                    <a:cubicBezTo>
                      <a:pt x="3129643" y="440034"/>
                      <a:pt x="3292929" y="1460872"/>
                      <a:pt x="3447143" y="1491110"/>
                    </a:cubicBezTo>
                    <a:cubicBezTo>
                      <a:pt x="3601357" y="1521348"/>
                      <a:pt x="3776738" y="467248"/>
                      <a:pt x="3933371" y="533167"/>
                    </a:cubicBezTo>
                    <a:cubicBezTo>
                      <a:pt x="4090004" y="599086"/>
                      <a:pt x="4238473" y="1242855"/>
                      <a:pt x="4386943" y="1886624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54" name="Group 153"/>
            <p:cNvGrpSpPr/>
            <p:nvPr/>
          </p:nvGrpSpPr>
          <p:grpSpPr>
            <a:xfrm rot="5400000">
              <a:off x="-972652" y="3077916"/>
              <a:ext cx="2967991" cy="1448820"/>
              <a:chOff x="2772230" y="5087490"/>
              <a:chExt cx="3820215" cy="2408427"/>
            </a:xfrm>
          </p:grpSpPr>
          <p:sp>
            <p:nvSpPr>
              <p:cNvPr id="155" name="Freeform: Shape 154"/>
              <p:cNvSpPr/>
              <p:nvPr/>
            </p:nvSpPr>
            <p:spPr>
              <a:xfrm>
                <a:off x="2772230" y="5087490"/>
                <a:ext cx="3820215" cy="2291400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625100"/>
                  <a:gd name="connsiteY0" fmla="*/ 1190184 h 2687163"/>
                  <a:gd name="connsiteX1" fmla="*/ 765628 w 6625100"/>
                  <a:gd name="connsiteY1" fmla="*/ 1865099 h 2687163"/>
                  <a:gd name="connsiteX2" fmla="*/ 1531257 w 6625100"/>
                  <a:gd name="connsiteY2" fmla="*/ 13 h 2687163"/>
                  <a:gd name="connsiteX3" fmla="*/ 2140857 w 6625100"/>
                  <a:gd name="connsiteY3" fmla="*/ 1897756 h 2687163"/>
                  <a:gd name="connsiteX4" fmla="*/ 2804886 w 6625100"/>
                  <a:gd name="connsiteY4" fmla="*/ 801927 h 2687163"/>
                  <a:gd name="connsiteX5" fmla="*/ 3291114 w 6625100"/>
                  <a:gd name="connsiteY5" fmla="*/ 1846956 h 2687163"/>
                  <a:gd name="connsiteX6" fmla="*/ 3755571 w 6625100"/>
                  <a:gd name="connsiteY6" fmla="*/ 1273641 h 2687163"/>
                  <a:gd name="connsiteX7" fmla="*/ 4071257 w 6625100"/>
                  <a:gd name="connsiteY7" fmla="*/ 1763499 h 2687163"/>
                  <a:gd name="connsiteX8" fmla="*/ 4466771 w 6625100"/>
                  <a:gd name="connsiteY8" fmla="*/ 399156 h 2687163"/>
                  <a:gd name="connsiteX9" fmla="*/ 4858657 w 6625100"/>
                  <a:gd name="connsiteY9" fmla="*/ 1357099 h 2687163"/>
                  <a:gd name="connsiteX10" fmla="*/ 5148943 w 6625100"/>
                  <a:gd name="connsiteY10" fmla="*/ 747499 h 2687163"/>
                  <a:gd name="connsiteX11" fmla="*/ 5588000 w 6625100"/>
                  <a:gd name="connsiteY11" fmla="*/ 1886870 h 2687163"/>
                  <a:gd name="connsiteX12" fmla="*/ 6074228 w 6625100"/>
                  <a:gd name="connsiteY12" fmla="*/ 928927 h 2687163"/>
                  <a:gd name="connsiteX13" fmla="*/ 6625100 w 6625100"/>
                  <a:gd name="connsiteY13" fmla="*/ 2687163 h 2687163"/>
                  <a:gd name="connsiteX0" fmla="*/ 0 w 5859472"/>
                  <a:gd name="connsiteY0" fmla="*/ 1865099 h 2687163"/>
                  <a:gd name="connsiteX1" fmla="*/ 765629 w 5859472"/>
                  <a:gd name="connsiteY1" fmla="*/ 13 h 2687163"/>
                  <a:gd name="connsiteX2" fmla="*/ 1375229 w 5859472"/>
                  <a:gd name="connsiteY2" fmla="*/ 1897756 h 2687163"/>
                  <a:gd name="connsiteX3" fmla="*/ 2039258 w 5859472"/>
                  <a:gd name="connsiteY3" fmla="*/ 801927 h 2687163"/>
                  <a:gd name="connsiteX4" fmla="*/ 2525486 w 5859472"/>
                  <a:gd name="connsiteY4" fmla="*/ 1846956 h 2687163"/>
                  <a:gd name="connsiteX5" fmla="*/ 2989943 w 5859472"/>
                  <a:gd name="connsiteY5" fmla="*/ 1273641 h 2687163"/>
                  <a:gd name="connsiteX6" fmla="*/ 3305629 w 5859472"/>
                  <a:gd name="connsiteY6" fmla="*/ 1763499 h 2687163"/>
                  <a:gd name="connsiteX7" fmla="*/ 3701143 w 5859472"/>
                  <a:gd name="connsiteY7" fmla="*/ 399156 h 2687163"/>
                  <a:gd name="connsiteX8" fmla="*/ 4093029 w 5859472"/>
                  <a:gd name="connsiteY8" fmla="*/ 1357099 h 2687163"/>
                  <a:gd name="connsiteX9" fmla="*/ 4383315 w 5859472"/>
                  <a:gd name="connsiteY9" fmla="*/ 747499 h 2687163"/>
                  <a:gd name="connsiteX10" fmla="*/ 4822372 w 5859472"/>
                  <a:gd name="connsiteY10" fmla="*/ 1886870 h 2687163"/>
                  <a:gd name="connsiteX11" fmla="*/ 5308600 w 5859472"/>
                  <a:gd name="connsiteY11" fmla="*/ 928927 h 2687163"/>
                  <a:gd name="connsiteX12" fmla="*/ 5859472 w 5859472"/>
                  <a:gd name="connsiteY12" fmla="*/ 2687163 h 2687163"/>
                  <a:gd name="connsiteX0" fmla="*/ -1 w 5093842"/>
                  <a:gd name="connsiteY0" fmla="*/ 0 h 2687150"/>
                  <a:gd name="connsiteX1" fmla="*/ 609599 w 5093842"/>
                  <a:gd name="connsiteY1" fmla="*/ 1897743 h 2687150"/>
                  <a:gd name="connsiteX2" fmla="*/ 1273628 w 5093842"/>
                  <a:gd name="connsiteY2" fmla="*/ 801914 h 2687150"/>
                  <a:gd name="connsiteX3" fmla="*/ 1759856 w 5093842"/>
                  <a:gd name="connsiteY3" fmla="*/ 1846943 h 2687150"/>
                  <a:gd name="connsiteX4" fmla="*/ 2224313 w 5093842"/>
                  <a:gd name="connsiteY4" fmla="*/ 1273628 h 2687150"/>
                  <a:gd name="connsiteX5" fmla="*/ 2539999 w 5093842"/>
                  <a:gd name="connsiteY5" fmla="*/ 1763486 h 2687150"/>
                  <a:gd name="connsiteX6" fmla="*/ 2935513 w 5093842"/>
                  <a:gd name="connsiteY6" fmla="*/ 399143 h 2687150"/>
                  <a:gd name="connsiteX7" fmla="*/ 3327399 w 5093842"/>
                  <a:gd name="connsiteY7" fmla="*/ 1357086 h 2687150"/>
                  <a:gd name="connsiteX8" fmla="*/ 3617685 w 5093842"/>
                  <a:gd name="connsiteY8" fmla="*/ 747486 h 2687150"/>
                  <a:gd name="connsiteX9" fmla="*/ 4056742 w 5093842"/>
                  <a:gd name="connsiteY9" fmla="*/ 1886857 h 2687150"/>
                  <a:gd name="connsiteX10" fmla="*/ 4542970 w 5093842"/>
                  <a:gd name="connsiteY10" fmla="*/ 928914 h 2687150"/>
                  <a:gd name="connsiteX11" fmla="*/ 5093842 w 5093842"/>
                  <a:gd name="connsiteY11" fmla="*/ 2687150 h 2687150"/>
                  <a:gd name="connsiteX0" fmla="*/ 0 w 4484243"/>
                  <a:gd name="connsiteY0" fmla="*/ 1501996 h 2291403"/>
                  <a:gd name="connsiteX1" fmla="*/ 664029 w 4484243"/>
                  <a:gd name="connsiteY1" fmla="*/ 406167 h 2291403"/>
                  <a:gd name="connsiteX2" fmla="*/ 1150257 w 4484243"/>
                  <a:gd name="connsiteY2" fmla="*/ 1451196 h 2291403"/>
                  <a:gd name="connsiteX3" fmla="*/ 1614714 w 4484243"/>
                  <a:gd name="connsiteY3" fmla="*/ 877881 h 2291403"/>
                  <a:gd name="connsiteX4" fmla="*/ 1930400 w 4484243"/>
                  <a:gd name="connsiteY4" fmla="*/ 1367739 h 2291403"/>
                  <a:gd name="connsiteX5" fmla="*/ 2325914 w 4484243"/>
                  <a:gd name="connsiteY5" fmla="*/ 3396 h 2291403"/>
                  <a:gd name="connsiteX6" fmla="*/ 2717800 w 4484243"/>
                  <a:gd name="connsiteY6" fmla="*/ 961339 h 2291403"/>
                  <a:gd name="connsiteX7" fmla="*/ 3008086 w 4484243"/>
                  <a:gd name="connsiteY7" fmla="*/ 351739 h 2291403"/>
                  <a:gd name="connsiteX8" fmla="*/ 3447143 w 4484243"/>
                  <a:gd name="connsiteY8" fmla="*/ 1491110 h 2291403"/>
                  <a:gd name="connsiteX9" fmla="*/ 3933371 w 4484243"/>
                  <a:gd name="connsiteY9" fmla="*/ 533167 h 2291403"/>
                  <a:gd name="connsiteX10" fmla="*/ 4484243 w 4484243"/>
                  <a:gd name="connsiteY10" fmla="*/ 2291403 h 2291403"/>
                  <a:gd name="connsiteX0" fmla="*/ 0 w 3820214"/>
                  <a:gd name="connsiteY0" fmla="*/ 406165 h 2291401"/>
                  <a:gd name="connsiteX1" fmla="*/ 486228 w 3820214"/>
                  <a:gd name="connsiteY1" fmla="*/ 1451194 h 2291401"/>
                  <a:gd name="connsiteX2" fmla="*/ 950685 w 3820214"/>
                  <a:gd name="connsiteY2" fmla="*/ 877879 h 2291401"/>
                  <a:gd name="connsiteX3" fmla="*/ 1266371 w 3820214"/>
                  <a:gd name="connsiteY3" fmla="*/ 1367737 h 2291401"/>
                  <a:gd name="connsiteX4" fmla="*/ 1661885 w 3820214"/>
                  <a:gd name="connsiteY4" fmla="*/ 3394 h 2291401"/>
                  <a:gd name="connsiteX5" fmla="*/ 2053771 w 3820214"/>
                  <a:gd name="connsiteY5" fmla="*/ 961337 h 2291401"/>
                  <a:gd name="connsiteX6" fmla="*/ 2344057 w 3820214"/>
                  <a:gd name="connsiteY6" fmla="*/ 351737 h 2291401"/>
                  <a:gd name="connsiteX7" fmla="*/ 2783114 w 3820214"/>
                  <a:gd name="connsiteY7" fmla="*/ 1491108 h 2291401"/>
                  <a:gd name="connsiteX8" fmla="*/ 3269342 w 3820214"/>
                  <a:gd name="connsiteY8" fmla="*/ 533165 h 2291401"/>
                  <a:gd name="connsiteX9" fmla="*/ 3820214 w 3820214"/>
                  <a:gd name="connsiteY9" fmla="*/ 2291401 h 2291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20214" h="2291401">
                    <a:moveTo>
                      <a:pt x="0" y="406165"/>
                    </a:moveTo>
                    <a:cubicBezTo>
                      <a:pt x="191709" y="397698"/>
                      <a:pt x="327781" y="1372575"/>
                      <a:pt x="486228" y="1451194"/>
                    </a:cubicBezTo>
                    <a:cubicBezTo>
                      <a:pt x="644675" y="1529813"/>
                      <a:pt x="820661" y="891788"/>
                      <a:pt x="950685" y="877879"/>
                    </a:cubicBezTo>
                    <a:cubicBezTo>
                      <a:pt x="1080709" y="863970"/>
                      <a:pt x="1147838" y="1513485"/>
                      <a:pt x="1266371" y="1367737"/>
                    </a:cubicBezTo>
                    <a:cubicBezTo>
                      <a:pt x="1384904" y="1221990"/>
                      <a:pt x="1530652" y="71127"/>
                      <a:pt x="1661885" y="3394"/>
                    </a:cubicBezTo>
                    <a:cubicBezTo>
                      <a:pt x="1793118" y="-64339"/>
                      <a:pt x="1940076" y="903280"/>
                      <a:pt x="2053771" y="961337"/>
                    </a:cubicBezTo>
                    <a:cubicBezTo>
                      <a:pt x="2167466" y="1019394"/>
                      <a:pt x="2222500" y="263442"/>
                      <a:pt x="2344057" y="351737"/>
                    </a:cubicBezTo>
                    <a:cubicBezTo>
                      <a:pt x="2465614" y="440032"/>
                      <a:pt x="2628900" y="1460870"/>
                      <a:pt x="2783114" y="1491108"/>
                    </a:cubicBezTo>
                    <a:cubicBezTo>
                      <a:pt x="2937328" y="1521346"/>
                      <a:pt x="3096492" y="399783"/>
                      <a:pt x="3269342" y="533165"/>
                    </a:cubicBezTo>
                    <a:cubicBezTo>
                      <a:pt x="3442192" y="666547"/>
                      <a:pt x="3671744" y="1647632"/>
                      <a:pt x="3820214" y="2291401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56" name="Freeform: Shape 155"/>
              <p:cNvSpPr/>
              <p:nvPr/>
            </p:nvSpPr>
            <p:spPr>
              <a:xfrm>
                <a:off x="2772230" y="5531340"/>
                <a:ext cx="3781294" cy="1864309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86180"/>
                  <a:gd name="connsiteY0" fmla="*/ 1190184 h 2518602"/>
                  <a:gd name="connsiteX1" fmla="*/ 765628 w 6586180"/>
                  <a:gd name="connsiteY1" fmla="*/ 1865099 h 2518602"/>
                  <a:gd name="connsiteX2" fmla="*/ 1531257 w 6586180"/>
                  <a:gd name="connsiteY2" fmla="*/ 13 h 2518602"/>
                  <a:gd name="connsiteX3" fmla="*/ 2140857 w 6586180"/>
                  <a:gd name="connsiteY3" fmla="*/ 1897756 h 2518602"/>
                  <a:gd name="connsiteX4" fmla="*/ 2804886 w 6586180"/>
                  <a:gd name="connsiteY4" fmla="*/ 801927 h 2518602"/>
                  <a:gd name="connsiteX5" fmla="*/ 3291114 w 6586180"/>
                  <a:gd name="connsiteY5" fmla="*/ 1846956 h 2518602"/>
                  <a:gd name="connsiteX6" fmla="*/ 3755571 w 6586180"/>
                  <a:gd name="connsiteY6" fmla="*/ 1273641 h 2518602"/>
                  <a:gd name="connsiteX7" fmla="*/ 4071257 w 6586180"/>
                  <a:gd name="connsiteY7" fmla="*/ 1763499 h 2518602"/>
                  <a:gd name="connsiteX8" fmla="*/ 4466771 w 6586180"/>
                  <a:gd name="connsiteY8" fmla="*/ 399156 h 2518602"/>
                  <a:gd name="connsiteX9" fmla="*/ 4858657 w 6586180"/>
                  <a:gd name="connsiteY9" fmla="*/ 1357099 h 2518602"/>
                  <a:gd name="connsiteX10" fmla="*/ 5148943 w 6586180"/>
                  <a:gd name="connsiteY10" fmla="*/ 747499 h 2518602"/>
                  <a:gd name="connsiteX11" fmla="*/ 5588000 w 6586180"/>
                  <a:gd name="connsiteY11" fmla="*/ 1886870 h 2518602"/>
                  <a:gd name="connsiteX12" fmla="*/ 6074228 w 6586180"/>
                  <a:gd name="connsiteY12" fmla="*/ 928927 h 2518602"/>
                  <a:gd name="connsiteX13" fmla="*/ 6586180 w 6586180"/>
                  <a:gd name="connsiteY13" fmla="*/ 2518602 h 2518602"/>
                  <a:gd name="connsiteX0" fmla="*/ 0 w 6586180"/>
                  <a:gd name="connsiteY0" fmla="*/ 794423 h 2122841"/>
                  <a:gd name="connsiteX1" fmla="*/ 765628 w 6586180"/>
                  <a:gd name="connsiteY1" fmla="*/ 1469338 h 2122841"/>
                  <a:gd name="connsiteX2" fmla="*/ 2140857 w 6586180"/>
                  <a:gd name="connsiteY2" fmla="*/ 1501995 h 2122841"/>
                  <a:gd name="connsiteX3" fmla="*/ 2804886 w 6586180"/>
                  <a:gd name="connsiteY3" fmla="*/ 406166 h 2122841"/>
                  <a:gd name="connsiteX4" fmla="*/ 3291114 w 6586180"/>
                  <a:gd name="connsiteY4" fmla="*/ 1451195 h 2122841"/>
                  <a:gd name="connsiteX5" fmla="*/ 3755571 w 6586180"/>
                  <a:gd name="connsiteY5" fmla="*/ 877880 h 2122841"/>
                  <a:gd name="connsiteX6" fmla="*/ 4071257 w 6586180"/>
                  <a:gd name="connsiteY6" fmla="*/ 1367738 h 2122841"/>
                  <a:gd name="connsiteX7" fmla="*/ 4466771 w 6586180"/>
                  <a:gd name="connsiteY7" fmla="*/ 3395 h 2122841"/>
                  <a:gd name="connsiteX8" fmla="*/ 4858657 w 6586180"/>
                  <a:gd name="connsiteY8" fmla="*/ 961338 h 2122841"/>
                  <a:gd name="connsiteX9" fmla="*/ 5148943 w 6586180"/>
                  <a:gd name="connsiteY9" fmla="*/ 351738 h 2122841"/>
                  <a:gd name="connsiteX10" fmla="*/ 5588000 w 6586180"/>
                  <a:gd name="connsiteY10" fmla="*/ 1491109 h 2122841"/>
                  <a:gd name="connsiteX11" fmla="*/ 6074228 w 6586180"/>
                  <a:gd name="connsiteY11" fmla="*/ 533166 h 2122841"/>
                  <a:gd name="connsiteX12" fmla="*/ 6586180 w 6586180"/>
                  <a:gd name="connsiteY12" fmla="*/ 2122841 h 2122841"/>
                  <a:gd name="connsiteX0" fmla="*/ 0 w 6586180"/>
                  <a:gd name="connsiteY0" fmla="*/ 794423 h 2122841"/>
                  <a:gd name="connsiteX1" fmla="*/ 2140857 w 6586180"/>
                  <a:gd name="connsiteY1" fmla="*/ 1501995 h 2122841"/>
                  <a:gd name="connsiteX2" fmla="*/ 2804886 w 6586180"/>
                  <a:gd name="connsiteY2" fmla="*/ 406166 h 2122841"/>
                  <a:gd name="connsiteX3" fmla="*/ 3291114 w 6586180"/>
                  <a:gd name="connsiteY3" fmla="*/ 1451195 h 2122841"/>
                  <a:gd name="connsiteX4" fmla="*/ 3755571 w 6586180"/>
                  <a:gd name="connsiteY4" fmla="*/ 877880 h 2122841"/>
                  <a:gd name="connsiteX5" fmla="*/ 4071257 w 6586180"/>
                  <a:gd name="connsiteY5" fmla="*/ 1367738 h 2122841"/>
                  <a:gd name="connsiteX6" fmla="*/ 4466771 w 6586180"/>
                  <a:gd name="connsiteY6" fmla="*/ 3395 h 2122841"/>
                  <a:gd name="connsiteX7" fmla="*/ 4858657 w 6586180"/>
                  <a:gd name="connsiteY7" fmla="*/ 961338 h 2122841"/>
                  <a:gd name="connsiteX8" fmla="*/ 5148943 w 6586180"/>
                  <a:gd name="connsiteY8" fmla="*/ 351738 h 2122841"/>
                  <a:gd name="connsiteX9" fmla="*/ 5588000 w 6586180"/>
                  <a:gd name="connsiteY9" fmla="*/ 1491109 h 2122841"/>
                  <a:gd name="connsiteX10" fmla="*/ 6074228 w 6586180"/>
                  <a:gd name="connsiteY10" fmla="*/ 533166 h 2122841"/>
                  <a:gd name="connsiteX11" fmla="*/ 6586180 w 6586180"/>
                  <a:gd name="connsiteY11" fmla="*/ 2122841 h 2122841"/>
                  <a:gd name="connsiteX0" fmla="*/ 0 w 4445323"/>
                  <a:gd name="connsiteY0" fmla="*/ 1501995 h 2122841"/>
                  <a:gd name="connsiteX1" fmla="*/ 664029 w 4445323"/>
                  <a:gd name="connsiteY1" fmla="*/ 406166 h 2122841"/>
                  <a:gd name="connsiteX2" fmla="*/ 1150257 w 4445323"/>
                  <a:gd name="connsiteY2" fmla="*/ 1451195 h 2122841"/>
                  <a:gd name="connsiteX3" fmla="*/ 1614714 w 4445323"/>
                  <a:gd name="connsiteY3" fmla="*/ 877880 h 2122841"/>
                  <a:gd name="connsiteX4" fmla="*/ 1930400 w 4445323"/>
                  <a:gd name="connsiteY4" fmla="*/ 1367738 h 2122841"/>
                  <a:gd name="connsiteX5" fmla="*/ 2325914 w 4445323"/>
                  <a:gd name="connsiteY5" fmla="*/ 3395 h 2122841"/>
                  <a:gd name="connsiteX6" fmla="*/ 2717800 w 4445323"/>
                  <a:gd name="connsiteY6" fmla="*/ 961338 h 2122841"/>
                  <a:gd name="connsiteX7" fmla="*/ 3008086 w 4445323"/>
                  <a:gd name="connsiteY7" fmla="*/ 351738 h 2122841"/>
                  <a:gd name="connsiteX8" fmla="*/ 3447143 w 4445323"/>
                  <a:gd name="connsiteY8" fmla="*/ 1491109 h 2122841"/>
                  <a:gd name="connsiteX9" fmla="*/ 3933371 w 4445323"/>
                  <a:gd name="connsiteY9" fmla="*/ 533166 h 2122841"/>
                  <a:gd name="connsiteX10" fmla="*/ 4445323 w 4445323"/>
                  <a:gd name="connsiteY10" fmla="*/ 2122841 h 2122841"/>
                  <a:gd name="connsiteX0" fmla="*/ 0 w 3781294"/>
                  <a:gd name="connsiteY0" fmla="*/ 406166 h 2122841"/>
                  <a:gd name="connsiteX1" fmla="*/ 486228 w 3781294"/>
                  <a:gd name="connsiteY1" fmla="*/ 1451195 h 2122841"/>
                  <a:gd name="connsiteX2" fmla="*/ 950685 w 3781294"/>
                  <a:gd name="connsiteY2" fmla="*/ 877880 h 2122841"/>
                  <a:gd name="connsiteX3" fmla="*/ 1266371 w 3781294"/>
                  <a:gd name="connsiteY3" fmla="*/ 1367738 h 2122841"/>
                  <a:gd name="connsiteX4" fmla="*/ 1661885 w 3781294"/>
                  <a:gd name="connsiteY4" fmla="*/ 3395 h 2122841"/>
                  <a:gd name="connsiteX5" fmla="*/ 2053771 w 3781294"/>
                  <a:gd name="connsiteY5" fmla="*/ 961338 h 2122841"/>
                  <a:gd name="connsiteX6" fmla="*/ 2344057 w 3781294"/>
                  <a:gd name="connsiteY6" fmla="*/ 351738 h 2122841"/>
                  <a:gd name="connsiteX7" fmla="*/ 2783114 w 3781294"/>
                  <a:gd name="connsiteY7" fmla="*/ 1491109 h 2122841"/>
                  <a:gd name="connsiteX8" fmla="*/ 3269342 w 3781294"/>
                  <a:gd name="connsiteY8" fmla="*/ 533166 h 2122841"/>
                  <a:gd name="connsiteX9" fmla="*/ 3781294 w 3781294"/>
                  <a:gd name="connsiteY9" fmla="*/ 2122841 h 212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81294" h="2122841">
                    <a:moveTo>
                      <a:pt x="0" y="406166"/>
                    </a:moveTo>
                    <a:cubicBezTo>
                      <a:pt x="191709" y="397699"/>
                      <a:pt x="327781" y="1372576"/>
                      <a:pt x="486228" y="1451195"/>
                    </a:cubicBezTo>
                    <a:cubicBezTo>
                      <a:pt x="644675" y="1529814"/>
                      <a:pt x="820661" y="891789"/>
                      <a:pt x="950685" y="877880"/>
                    </a:cubicBezTo>
                    <a:cubicBezTo>
                      <a:pt x="1080709" y="863971"/>
                      <a:pt x="1147838" y="1513486"/>
                      <a:pt x="1266371" y="1367738"/>
                    </a:cubicBezTo>
                    <a:cubicBezTo>
                      <a:pt x="1384904" y="1221991"/>
                      <a:pt x="1530652" y="71128"/>
                      <a:pt x="1661885" y="3395"/>
                    </a:cubicBezTo>
                    <a:cubicBezTo>
                      <a:pt x="1793118" y="-64338"/>
                      <a:pt x="1940076" y="903281"/>
                      <a:pt x="2053771" y="961338"/>
                    </a:cubicBezTo>
                    <a:cubicBezTo>
                      <a:pt x="2167466" y="1019395"/>
                      <a:pt x="2222500" y="263443"/>
                      <a:pt x="2344057" y="351738"/>
                    </a:cubicBezTo>
                    <a:cubicBezTo>
                      <a:pt x="2465614" y="440033"/>
                      <a:pt x="2628900" y="1460871"/>
                      <a:pt x="2783114" y="1491109"/>
                    </a:cubicBezTo>
                    <a:cubicBezTo>
                      <a:pt x="2937328" y="1521347"/>
                      <a:pt x="3102979" y="427877"/>
                      <a:pt x="3269342" y="533166"/>
                    </a:cubicBezTo>
                    <a:cubicBezTo>
                      <a:pt x="3435705" y="638455"/>
                      <a:pt x="3632824" y="1479072"/>
                      <a:pt x="3781294" y="2122841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57" name="Freeform: Shape 156"/>
              <p:cNvSpPr/>
              <p:nvPr/>
            </p:nvSpPr>
            <p:spPr>
              <a:xfrm>
                <a:off x="3258458" y="6195929"/>
                <a:ext cx="3236685" cy="1220174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27800"/>
                  <a:gd name="connsiteY0" fmla="*/ 1219485 h 2311685"/>
                  <a:gd name="connsiteX1" fmla="*/ 765628 w 6527800"/>
                  <a:gd name="connsiteY1" fmla="*/ 1894400 h 2311685"/>
                  <a:gd name="connsiteX2" fmla="*/ 1531257 w 6527800"/>
                  <a:gd name="connsiteY2" fmla="*/ 29314 h 2311685"/>
                  <a:gd name="connsiteX3" fmla="*/ 2804886 w 6527800"/>
                  <a:gd name="connsiteY3" fmla="*/ 831228 h 2311685"/>
                  <a:gd name="connsiteX4" fmla="*/ 3291114 w 6527800"/>
                  <a:gd name="connsiteY4" fmla="*/ 1876257 h 2311685"/>
                  <a:gd name="connsiteX5" fmla="*/ 3755571 w 6527800"/>
                  <a:gd name="connsiteY5" fmla="*/ 1302942 h 2311685"/>
                  <a:gd name="connsiteX6" fmla="*/ 4071257 w 6527800"/>
                  <a:gd name="connsiteY6" fmla="*/ 1792800 h 2311685"/>
                  <a:gd name="connsiteX7" fmla="*/ 4466771 w 6527800"/>
                  <a:gd name="connsiteY7" fmla="*/ 428457 h 2311685"/>
                  <a:gd name="connsiteX8" fmla="*/ 4858657 w 6527800"/>
                  <a:gd name="connsiteY8" fmla="*/ 1386400 h 2311685"/>
                  <a:gd name="connsiteX9" fmla="*/ 5148943 w 6527800"/>
                  <a:gd name="connsiteY9" fmla="*/ 776800 h 2311685"/>
                  <a:gd name="connsiteX10" fmla="*/ 5588000 w 6527800"/>
                  <a:gd name="connsiteY10" fmla="*/ 1916171 h 2311685"/>
                  <a:gd name="connsiteX11" fmla="*/ 6074228 w 6527800"/>
                  <a:gd name="connsiteY11" fmla="*/ 958228 h 2311685"/>
                  <a:gd name="connsiteX12" fmla="*/ 6527800 w 6527800"/>
                  <a:gd name="connsiteY12" fmla="*/ 2311685 h 2311685"/>
                  <a:gd name="connsiteX0" fmla="*/ 0 w 6527800"/>
                  <a:gd name="connsiteY0" fmla="*/ 794423 h 1886623"/>
                  <a:gd name="connsiteX1" fmla="*/ 765628 w 6527800"/>
                  <a:gd name="connsiteY1" fmla="*/ 1469338 h 1886623"/>
                  <a:gd name="connsiteX2" fmla="*/ 2804886 w 6527800"/>
                  <a:gd name="connsiteY2" fmla="*/ 406166 h 1886623"/>
                  <a:gd name="connsiteX3" fmla="*/ 3291114 w 6527800"/>
                  <a:gd name="connsiteY3" fmla="*/ 1451195 h 1886623"/>
                  <a:gd name="connsiteX4" fmla="*/ 3755571 w 6527800"/>
                  <a:gd name="connsiteY4" fmla="*/ 877880 h 1886623"/>
                  <a:gd name="connsiteX5" fmla="*/ 4071257 w 6527800"/>
                  <a:gd name="connsiteY5" fmla="*/ 1367738 h 1886623"/>
                  <a:gd name="connsiteX6" fmla="*/ 4466771 w 6527800"/>
                  <a:gd name="connsiteY6" fmla="*/ 3395 h 1886623"/>
                  <a:gd name="connsiteX7" fmla="*/ 4858657 w 6527800"/>
                  <a:gd name="connsiteY7" fmla="*/ 961338 h 1886623"/>
                  <a:gd name="connsiteX8" fmla="*/ 5148943 w 6527800"/>
                  <a:gd name="connsiteY8" fmla="*/ 351738 h 1886623"/>
                  <a:gd name="connsiteX9" fmla="*/ 5588000 w 6527800"/>
                  <a:gd name="connsiteY9" fmla="*/ 1491109 h 1886623"/>
                  <a:gd name="connsiteX10" fmla="*/ 6074228 w 6527800"/>
                  <a:gd name="connsiteY10" fmla="*/ 533166 h 1886623"/>
                  <a:gd name="connsiteX11" fmla="*/ 6527800 w 6527800"/>
                  <a:gd name="connsiteY11" fmla="*/ 1886623 h 1886623"/>
                  <a:gd name="connsiteX0" fmla="*/ 0 w 6527800"/>
                  <a:gd name="connsiteY0" fmla="*/ 794423 h 1886623"/>
                  <a:gd name="connsiteX1" fmla="*/ 765628 w 6527800"/>
                  <a:gd name="connsiteY1" fmla="*/ 1469338 h 1886623"/>
                  <a:gd name="connsiteX2" fmla="*/ 3291114 w 6527800"/>
                  <a:gd name="connsiteY2" fmla="*/ 1451195 h 1886623"/>
                  <a:gd name="connsiteX3" fmla="*/ 3755571 w 6527800"/>
                  <a:gd name="connsiteY3" fmla="*/ 877880 h 1886623"/>
                  <a:gd name="connsiteX4" fmla="*/ 4071257 w 6527800"/>
                  <a:gd name="connsiteY4" fmla="*/ 1367738 h 1886623"/>
                  <a:gd name="connsiteX5" fmla="*/ 4466771 w 6527800"/>
                  <a:gd name="connsiteY5" fmla="*/ 3395 h 1886623"/>
                  <a:gd name="connsiteX6" fmla="*/ 4858657 w 6527800"/>
                  <a:gd name="connsiteY6" fmla="*/ 961338 h 1886623"/>
                  <a:gd name="connsiteX7" fmla="*/ 5148943 w 6527800"/>
                  <a:gd name="connsiteY7" fmla="*/ 351738 h 1886623"/>
                  <a:gd name="connsiteX8" fmla="*/ 5588000 w 6527800"/>
                  <a:gd name="connsiteY8" fmla="*/ 1491109 h 1886623"/>
                  <a:gd name="connsiteX9" fmla="*/ 6074228 w 6527800"/>
                  <a:gd name="connsiteY9" fmla="*/ 533166 h 1886623"/>
                  <a:gd name="connsiteX10" fmla="*/ 6527800 w 6527800"/>
                  <a:gd name="connsiteY10" fmla="*/ 1886623 h 1886623"/>
                  <a:gd name="connsiteX0" fmla="*/ 0 w 6527800"/>
                  <a:gd name="connsiteY0" fmla="*/ 794423 h 1886623"/>
                  <a:gd name="connsiteX1" fmla="*/ 3291114 w 6527800"/>
                  <a:gd name="connsiteY1" fmla="*/ 1451195 h 1886623"/>
                  <a:gd name="connsiteX2" fmla="*/ 3755571 w 6527800"/>
                  <a:gd name="connsiteY2" fmla="*/ 877880 h 1886623"/>
                  <a:gd name="connsiteX3" fmla="*/ 4071257 w 6527800"/>
                  <a:gd name="connsiteY3" fmla="*/ 1367738 h 1886623"/>
                  <a:gd name="connsiteX4" fmla="*/ 4466771 w 6527800"/>
                  <a:gd name="connsiteY4" fmla="*/ 3395 h 1886623"/>
                  <a:gd name="connsiteX5" fmla="*/ 4858657 w 6527800"/>
                  <a:gd name="connsiteY5" fmla="*/ 961338 h 1886623"/>
                  <a:gd name="connsiteX6" fmla="*/ 5148943 w 6527800"/>
                  <a:gd name="connsiteY6" fmla="*/ 351738 h 1886623"/>
                  <a:gd name="connsiteX7" fmla="*/ 5588000 w 6527800"/>
                  <a:gd name="connsiteY7" fmla="*/ 1491109 h 1886623"/>
                  <a:gd name="connsiteX8" fmla="*/ 6074228 w 6527800"/>
                  <a:gd name="connsiteY8" fmla="*/ 533166 h 1886623"/>
                  <a:gd name="connsiteX9" fmla="*/ 6527800 w 6527800"/>
                  <a:gd name="connsiteY9" fmla="*/ 1886623 h 1886623"/>
                  <a:gd name="connsiteX0" fmla="*/ -1 w 3236685"/>
                  <a:gd name="connsiteY0" fmla="*/ 1451195 h 1886623"/>
                  <a:gd name="connsiteX1" fmla="*/ 464456 w 3236685"/>
                  <a:gd name="connsiteY1" fmla="*/ 877880 h 1886623"/>
                  <a:gd name="connsiteX2" fmla="*/ 780142 w 3236685"/>
                  <a:gd name="connsiteY2" fmla="*/ 1367738 h 1886623"/>
                  <a:gd name="connsiteX3" fmla="*/ 1175656 w 3236685"/>
                  <a:gd name="connsiteY3" fmla="*/ 3395 h 1886623"/>
                  <a:gd name="connsiteX4" fmla="*/ 1567542 w 3236685"/>
                  <a:gd name="connsiteY4" fmla="*/ 961338 h 1886623"/>
                  <a:gd name="connsiteX5" fmla="*/ 1857828 w 3236685"/>
                  <a:gd name="connsiteY5" fmla="*/ 351738 h 1886623"/>
                  <a:gd name="connsiteX6" fmla="*/ 2296885 w 3236685"/>
                  <a:gd name="connsiteY6" fmla="*/ 1491109 h 1886623"/>
                  <a:gd name="connsiteX7" fmla="*/ 2783113 w 3236685"/>
                  <a:gd name="connsiteY7" fmla="*/ 533166 h 1886623"/>
                  <a:gd name="connsiteX8" fmla="*/ 3236685 w 3236685"/>
                  <a:gd name="connsiteY8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36685" h="1886623">
                    <a:moveTo>
                      <a:pt x="-1" y="1451195"/>
                    </a:moveTo>
                    <a:cubicBezTo>
                      <a:pt x="625927" y="1465104"/>
                      <a:pt x="334432" y="891789"/>
                      <a:pt x="464456" y="877880"/>
                    </a:cubicBezTo>
                    <a:cubicBezTo>
                      <a:pt x="594480" y="863971"/>
                      <a:pt x="661609" y="1513486"/>
                      <a:pt x="780142" y="1367738"/>
                    </a:cubicBezTo>
                    <a:cubicBezTo>
                      <a:pt x="898675" y="1221991"/>
                      <a:pt x="1044423" y="71128"/>
                      <a:pt x="1175656" y="3395"/>
                    </a:cubicBezTo>
                    <a:cubicBezTo>
                      <a:pt x="1306889" y="-64338"/>
                      <a:pt x="1453847" y="903281"/>
                      <a:pt x="1567542" y="961338"/>
                    </a:cubicBezTo>
                    <a:cubicBezTo>
                      <a:pt x="1681237" y="1019395"/>
                      <a:pt x="1736271" y="263443"/>
                      <a:pt x="1857828" y="351738"/>
                    </a:cubicBezTo>
                    <a:cubicBezTo>
                      <a:pt x="1979385" y="440033"/>
                      <a:pt x="2142671" y="1460871"/>
                      <a:pt x="2296885" y="1491109"/>
                    </a:cubicBezTo>
                    <a:cubicBezTo>
                      <a:pt x="2451099" y="1521347"/>
                      <a:pt x="2626480" y="467247"/>
                      <a:pt x="2783113" y="533166"/>
                    </a:cubicBezTo>
                    <a:cubicBezTo>
                      <a:pt x="2939746" y="599085"/>
                      <a:pt x="3088215" y="1242854"/>
                      <a:pt x="3236685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58" name="Freeform: Shape 157"/>
              <p:cNvSpPr/>
              <p:nvPr/>
            </p:nvSpPr>
            <p:spPr>
              <a:xfrm>
                <a:off x="4038601" y="6633271"/>
                <a:ext cx="2456542" cy="862645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1 w 4996544"/>
                  <a:gd name="connsiteY0" fmla="*/ -2 h 2282369"/>
                  <a:gd name="connsiteX1" fmla="*/ 609601 w 4996544"/>
                  <a:gd name="connsiteY1" fmla="*/ 1897741 h 2282369"/>
                  <a:gd name="connsiteX2" fmla="*/ 1273630 w 4996544"/>
                  <a:gd name="connsiteY2" fmla="*/ 801912 h 2282369"/>
                  <a:gd name="connsiteX3" fmla="*/ 1759858 w 4996544"/>
                  <a:gd name="connsiteY3" fmla="*/ 1846941 h 2282369"/>
                  <a:gd name="connsiteX4" fmla="*/ 2224315 w 4996544"/>
                  <a:gd name="connsiteY4" fmla="*/ 1273626 h 2282369"/>
                  <a:gd name="connsiteX5" fmla="*/ 2540001 w 4996544"/>
                  <a:gd name="connsiteY5" fmla="*/ 1763484 h 2282369"/>
                  <a:gd name="connsiteX6" fmla="*/ 2935515 w 4996544"/>
                  <a:gd name="connsiteY6" fmla="*/ 399141 h 2282369"/>
                  <a:gd name="connsiteX7" fmla="*/ 3327401 w 4996544"/>
                  <a:gd name="connsiteY7" fmla="*/ 1357084 h 2282369"/>
                  <a:gd name="connsiteX8" fmla="*/ 3617687 w 4996544"/>
                  <a:gd name="connsiteY8" fmla="*/ 747484 h 2282369"/>
                  <a:gd name="connsiteX9" fmla="*/ 4056744 w 4996544"/>
                  <a:gd name="connsiteY9" fmla="*/ 1886855 h 2282369"/>
                  <a:gd name="connsiteX10" fmla="*/ 4542972 w 4996544"/>
                  <a:gd name="connsiteY10" fmla="*/ 928912 h 2282369"/>
                  <a:gd name="connsiteX11" fmla="*/ 4996544 w 4996544"/>
                  <a:gd name="connsiteY11" fmla="*/ 2282369 h 2282369"/>
                  <a:gd name="connsiteX0" fmla="*/ 0 w 4386943"/>
                  <a:gd name="connsiteY0" fmla="*/ 1501995 h 1886623"/>
                  <a:gd name="connsiteX1" fmla="*/ 664029 w 4386943"/>
                  <a:gd name="connsiteY1" fmla="*/ 406166 h 1886623"/>
                  <a:gd name="connsiteX2" fmla="*/ 1150257 w 4386943"/>
                  <a:gd name="connsiteY2" fmla="*/ 1451195 h 1886623"/>
                  <a:gd name="connsiteX3" fmla="*/ 1614714 w 4386943"/>
                  <a:gd name="connsiteY3" fmla="*/ 877880 h 1886623"/>
                  <a:gd name="connsiteX4" fmla="*/ 1930400 w 4386943"/>
                  <a:gd name="connsiteY4" fmla="*/ 1367738 h 1886623"/>
                  <a:gd name="connsiteX5" fmla="*/ 2325914 w 4386943"/>
                  <a:gd name="connsiteY5" fmla="*/ 3395 h 1886623"/>
                  <a:gd name="connsiteX6" fmla="*/ 2717800 w 4386943"/>
                  <a:gd name="connsiteY6" fmla="*/ 961338 h 1886623"/>
                  <a:gd name="connsiteX7" fmla="*/ 3008086 w 4386943"/>
                  <a:gd name="connsiteY7" fmla="*/ 351738 h 1886623"/>
                  <a:gd name="connsiteX8" fmla="*/ 3447143 w 4386943"/>
                  <a:gd name="connsiteY8" fmla="*/ 1491109 h 1886623"/>
                  <a:gd name="connsiteX9" fmla="*/ 3933371 w 4386943"/>
                  <a:gd name="connsiteY9" fmla="*/ 533166 h 1886623"/>
                  <a:gd name="connsiteX10" fmla="*/ 4386943 w 4386943"/>
                  <a:gd name="connsiteY10" fmla="*/ 1886623 h 1886623"/>
                  <a:gd name="connsiteX0" fmla="*/ 1 w 3722915"/>
                  <a:gd name="connsiteY0" fmla="*/ 406166 h 1886623"/>
                  <a:gd name="connsiteX1" fmla="*/ 486229 w 3722915"/>
                  <a:gd name="connsiteY1" fmla="*/ 1451195 h 1886623"/>
                  <a:gd name="connsiteX2" fmla="*/ 950686 w 3722915"/>
                  <a:gd name="connsiteY2" fmla="*/ 877880 h 1886623"/>
                  <a:gd name="connsiteX3" fmla="*/ 1266372 w 3722915"/>
                  <a:gd name="connsiteY3" fmla="*/ 1367738 h 1886623"/>
                  <a:gd name="connsiteX4" fmla="*/ 1661886 w 3722915"/>
                  <a:gd name="connsiteY4" fmla="*/ 3395 h 1886623"/>
                  <a:gd name="connsiteX5" fmla="*/ 2053772 w 3722915"/>
                  <a:gd name="connsiteY5" fmla="*/ 961338 h 1886623"/>
                  <a:gd name="connsiteX6" fmla="*/ 2344058 w 3722915"/>
                  <a:gd name="connsiteY6" fmla="*/ 351738 h 1886623"/>
                  <a:gd name="connsiteX7" fmla="*/ 2783115 w 3722915"/>
                  <a:gd name="connsiteY7" fmla="*/ 1491109 h 1886623"/>
                  <a:gd name="connsiteX8" fmla="*/ 3269343 w 3722915"/>
                  <a:gd name="connsiteY8" fmla="*/ 533166 h 1886623"/>
                  <a:gd name="connsiteX9" fmla="*/ 3722915 w 3722915"/>
                  <a:gd name="connsiteY9" fmla="*/ 1886623 h 1886623"/>
                  <a:gd name="connsiteX0" fmla="*/ -1 w 3236685"/>
                  <a:gd name="connsiteY0" fmla="*/ 1451195 h 1886623"/>
                  <a:gd name="connsiteX1" fmla="*/ 464456 w 3236685"/>
                  <a:gd name="connsiteY1" fmla="*/ 877880 h 1886623"/>
                  <a:gd name="connsiteX2" fmla="*/ 780142 w 3236685"/>
                  <a:gd name="connsiteY2" fmla="*/ 1367738 h 1886623"/>
                  <a:gd name="connsiteX3" fmla="*/ 1175656 w 3236685"/>
                  <a:gd name="connsiteY3" fmla="*/ 3395 h 1886623"/>
                  <a:gd name="connsiteX4" fmla="*/ 1567542 w 3236685"/>
                  <a:gd name="connsiteY4" fmla="*/ 961338 h 1886623"/>
                  <a:gd name="connsiteX5" fmla="*/ 1857828 w 3236685"/>
                  <a:gd name="connsiteY5" fmla="*/ 351738 h 1886623"/>
                  <a:gd name="connsiteX6" fmla="*/ 2296885 w 3236685"/>
                  <a:gd name="connsiteY6" fmla="*/ 1491109 h 1886623"/>
                  <a:gd name="connsiteX7" fmla="*/ 2783113 w 3236685"/>
                  <a:gd name="connsiteY7" fmla="*/ 533166 h 1886623"/>
                  <a:gd name="connsiteX8" fmla="*/ 3236685 w 3236685"/>
                  <a:gd name="connsiteY8" fmla="*/ 1886623 h 1886623"/>
                  <a:gd name="connsiteX0" fmla="*/ 0 w 2772229"/>
                  <a:gd name="connsiteY0" fmla="*/ 877880 h 1886623"/>
                  <a:gd name="connsiteX1" fmla="*/ 315686 w 2772229"/>
                  <a:gd name="connsiteY1" fmla="*/ 1367738 h 1886623"/>
                  <a:gd name="connsiteX2" fmla="*/ 711200 w 2772229"/>
                  <a:gd name="connsiteY2" fmla="*/ 3395 h 1886623"/>
                  <a:gd name="connsiteX3" fmla="*/ 1103086 w 2772229"/>
                  <a:gd name="connsiteY3" fmla="*/ 961338 h 1886623"/>
                  <a:gd name="connsiteX4" fmla="*/ 1393372 w 2772229"/>
                  <a:gd name="connsiteY4" fmla="*/ 351738 h 1886623"/>
                  <a:gd name="connsiteX5" fmla="*/ 1832429 w 2772229"/>
                  <a:gd name="connsiteY5" fmla="*/ 1491109 h 1886623"/>
                  <a:gd name="connsiteX6" fmla="*/ 2318657 w 2772229"/>
                  <a:gd name="connsiteY6" fmla="*/ 533166 h 1886623"/>
                  <a:gd name="connsiteX7" fmla="*/ 2772229 w 2772229"/>
                  <a:gd name="connsiteY7" fmla="*/ 1886623 h 1886623"/>
                  <a:gd name="connsiteX0" fmla="*/ 0 w 2456543"/>
                  <a:gd name="connsiteY0" fmla="*/ 1367738 h 1886623"/>
                  <a:gd name="connsiteX1" fmla="*/ 395514 w 2456543"/>
                  <a:gd name="connsiteY1" fmla="*/ 3395 h 1886623"/>
                  <a:gd name="connsiteX2" fmla="*/ 787400 w 2456543"/>
                  <a:gd name="connsiteY2" fmla="*/ 961338 h 1886623"/>
                  <a:gd name="connsiteX3" fmla="*/ 1077686 w 2456543"/>
                  <a:gd name="connsiteY3" fmla="*/ 351738 h 1886623"/>
                  <a:gd name="connsiteX4" fmla="*/ 1516743 w 2456543"/>
                  <a:gd name="connsiteY4" fmla="*/ 1491109 h 1886623"/>
                  <a:gd name="connsiteX5" fmla="*/ 2002971 w 2456543"/>
                  <a:gd name="connsiteY5" fmla="*/ 533166 h 1886623"/>
                  <a:gd name="connsiteX6" fmla="*/ 2456543 w 2456543"/>
                  <a:gd name="connsiteY6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56543" h="1886623">
                    <a:moveTo>
                      <a:pt x="0" y="1367738"/>
                    </a:moveTo>
                    <a:cubicBezTo>
                      <a:pt x="118533" y="1221991"/>
                      <a:pt x="264281" y="71128"/>
                      <a:pt x="395514" y="3395"/>
                    </a:cubicBezTo>
                    <a:cubicBezTo>
                      <a:pt x="526747" y="-64338"/>
                      <a:pt x="673705" y="903281"/>
                      <a:pt x="787400" y="961338"/>
                    </a:cubicBezTo>
                    <a:cubicBezTo>
                      <a:pt x="901095" y="1019395"/>
                      <a:pt x="956129" y="263443"/>
                      <a:pt x="1077686" y="351738"/>
                    </a:cubicBezTo>
                    <a:cubicBezTo>
                      <a:pt x="1199243" y="440033"/>
                      <a:pt x="1362529" y="1460871"/>
                      <a:pt x="1516743" y="1491109"/>
                    </a:cubicBezTo>
                    <a:cubicBezTo>
                      <a:pt x="1670957" y="1521347"/>
                      <a:pt x="1846338" y="467247"/>
                      <a:pt x="2002971" y="533166"/>
                    </a:cubicBezTo>
                    <a:cubicBezTo>
                      <a:pt x="2159604" y="599085"/>
                      <a:pt x="2308073" y="1242854"/>
                      <a:pt x="2456543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63" name="Rectangle 16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2050">
                  <a:alpha val="60000"/>
                </a:srgbClr>
              </a:gs>
              <a:gs pos="100000">
                <a:srgbClr val="002050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graphicFrame>
        <p:nvGraphicFramePr>
          <p:cNvPr id="11" name="Object 10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2531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1" name="Object 10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2531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511330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DB89E-ABAB-49F5-A428-A943B585F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41"/>
            <a:ext cx="10515600" cy="2852737"/>
          </a:xfrm>
        </p:spPr>
        <p:txBody>
          <a:bodyPr anchor="b"/>
          <a:lstStyle>
            <a:lvl1pPr>
              <a:defRPr sz="599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CC9F2F-3B49-407C-B533-ED5E1BA232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6"/>
            <a:ext cx="10515600" cy="1500187"/>
          </a:xfrm>
        </p:spPr>
        <p:txBody>
          <a:bodyPr/>
          <a:lstStyle>
            <a:lvl1pPr marL="0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1pPr>
            <a:lvl2pPr marL="456975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3951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0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9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87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8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82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FF8A69-AC4B-4BB5-BDE6-1AB53FED59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9/2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9605CF-465F-43C8-888E-9741D61578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D7AC51-770B-4C2B-B1E0-7CD4889FC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08136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2BD4CF-99F2-4D57-ACD7-D066F8A2AF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1C9D3B-935A-487B-B374-4EA31E375E9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8651A-B5E7-4CBC-8B2A-A9659DCFEB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619A43F-266F-4B08-B395-487BC3CFBC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9/25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D470BB-F142-4561-85A9-405B1FADED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FFF173-CB13-4D18-9D44-A8E423A79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4692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0E223E-99EA-4DE2-8C64-13D36E7773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8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CAA717-1474-4998-BC66-5552C7F2BB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90" y="1681163"/>
            <a:ext cx="5157787" cy="82391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6975" indent="0">
              <a:buNone/>
              <a:defRPr sz="1999" b="1"/>
            </a:lvl2pPr>
            <a:lvl3pPr marL="913951" indent="0">
              <a:buNone/>
              <a:defRPr sz="1799" b="1"/>
            </a:lvl3pPr>
            <a:lvl4pPr marL="1370926" indent="0">
              <a:buNone/>
              <a:defRPr sz="1600" b="1"/>
            </a:lvl4pPr>
            <a:lvl5pPr marL="1827900" indent="0">
              <a:buNone/>
              <a:defRPr sz="1600" b="1"/>
            </a:lvl5pPr>
            <a:lvl6pPr marL="2284875" indent="0">
              <a:buNone/>
              <a:defRPr sz="1600" b="1"/>
            </a:lvl6pPr>
            <a:lvl7pPr marL="2741851" indent="0">
              <a:buNone/>
              <a:defRPr sz="1600" b="1"/>
            </a:lvl7pPr>
            <a:lvl8pPr marL="3198825" indent="0">
              <a:buNone/>
              <a:defRPr sz="1600" b="1"/>
            </a:lvl8pPr>
            <a:lvl9pPr marL="36558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B5CB5EF-51FA-44DC-BD68-7493503658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90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8BF8C9E-03B6-41DE-A1DB-FD56FBFA7C2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6975" indent="0">
              <a:buNone/>
              <a:defRPr sz="1999" b="1"/>
            </a:lvl2pPr>
            <a:lvl3pPr marL="913951" indent="0">
              <a:buNone/>
              <a:defRPr sz="1799" b="1"/>
            </a:lvl3pPr>
            <a:lvl4pPr marL="1370926" indent="0">
              <a:buNone/>
              <a:defRPr sz="1600" b="1"/>
            </a:lvl4pPr>
            <a:lvl5pPr marL="1827900" indent="0">
              <a:buNone/>
              <a:defRPr sz="1600" b="1"/>
            </a:lvl5pPr>
            <a:lvl6pPr marL="2284875" indent="0">
              <a:buNone/>
              <a:defRPr sz="1600" b="1"/>
            </a:lvl6pPr>
            <a:lvl7pPr marL="2741851" indent="0">
              <a:buNone/>
              <a:defRPr sz="1600" b="1"/>
            </a:lvl7pPr>
            <a:lvl8pPr marL="3198825" indent="0">
              <a:buNone/>
              <a:defRPr sz="1600" b="1"/>
            </a:lvl8pPr>
            <a:lvl9pPr marL="36558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3F1013F-01D0-4B43-9920-A34CC45A9E5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3642FDB-CBC9-45AF-B4B9-FA9B602B90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9/25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6489A92-54AC-4919-9A25-A43B80CA85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9D11812-FF17-4908-8DBE-E015F4C206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172931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BA3B00-F766-45D3-A7E8-3B37523062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7511BCE-0813-42C8-8B7C-0EB60FCA73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9/25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D96101-F997-454F-B0F2-BC315304C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781A9F-CB6B-4C7E-9750-CD0FA5996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358164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2F015D-2E39-40E0-8A01-131E5AB608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9/25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A434CAB-495B-4F2B-B05B-B09B498411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601C4A-D6C5-4718-B230-1EE2779161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5839226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C9E31D-20D8-452A-9959-1B22621A9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3459C8-A511-4F51-903D-E5D1159730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9" y="987428"/>
            <a:ext cx="6172200" cy="4873625"/>
          </a:xfrm>
        </p:spPr>
        <p:txBody>
          <a:bodyPr/>
          <a:lstStyle>
            <a:lvl1pPr>
              <a:defRPr sz="3199"/>
            </a:lvl1pPr>
            <a:lvl2pPr>
              <a:defRPr sz="2799"/>
            </a:lvl2pPr>
            <a:lvl3pPr>
              <a:defRPr sz="2399"/>
            </a:lvl3pPr>
            <a:lvl4pPr>
              <a:defRPr sz="1999"/>
            </a:lvl4pPr>
            <a:lvl5pPr>
              <a:defRPr sz="1999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C56E3E-CDBD-4F62-95A4-0A9688977C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975" indent="0">
              <a:buNone/>
              <a:defRPr sz="1400"/>
            </a:lvl2pPr>
            <a:lvl3pPr marL="913951" indent="0">
              <a:buNone/>
              <a:defRPr sz="1200"/>
            </a:lvl3pPr>
            <a:lvl4pPr marL="1370926" indent="0">
              <a:buNone/>
              <a:defRPr sz="1000"/>
            </a:lvl4pPr>
            <a:lvl5pPr marL="1827900" indent="0">
              <a:buNone/>
              <a:defRPr sz="1000"/>
            </a:lvl5pPr>
            <a:lvl6pPr marL="2284875" indent="0">
              <a:buNone/>
              <a:defRPr sz="1000"/>
            </a:lvl6pPr>
            <a:lvl7pPr marL="2741851" indent="0">
              <a:buNone/>
              <a:defRPr sz="1000"/>
            </a:lvl7pPr>
            <a:lvl8pPr marL="3198825" indent="0">
              <a:buNone/>
              <a:defRPr sz="1000"/>
            </a:lvl8pPr>
            <a:lvl9pPr marL="36558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FB2D8D-0772-4A62-87CA-98EB2EED3A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9/25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B6541FB-469F-4183-B3A9-3BD437F1B1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8243CD-0518-4259-AC68-488937FCE9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2909075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AA7C40-2F46-4118-818E-0D4504535B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19344C2-56AE-44C9-B27B-4AFCD83103F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9" y="987428"/>
            <a:ext cx="6172200" cy="4873625"/>
          </a:xfrm>
        </p:spPr>
        <p:txBody>
          <a:bodyPr/>
          <a:lstStyle>
            <a:lvl1pPr marL="0" indent="0">
              <a:buNone/>
              <a:defRPr sz="3199"/>
            </a:lvl1pPr>
            <a:lvl2pPr marL="456975" indent="0">
              <a:buNone/>
              <a:defRPr sz="2799"/>
            </a:lvl2pPr>
            <a:lvl3pPr marL="913951" indent="0">
              <a:buNone/>
              <a:defRPr sz="2399"/>
            </a:lvl3pPr>
            <a:lvl4pPr marL="1370926" indent="0">
              <a:buNone/>
              <a:defRPr sz="1999"/>
            </a:lvl4pPr>
            <a:lvl5pPr marL="1827900" indent="0">
              <a:buNone/>
              <a:defRPr sz="1999"/>
            </a:lvl5pPr>
            <a:lvl6pPr marL="2284875" indent="0">
              <a:buNone/>
              <a:defRPr sz="1999"/>
            </a:lvl6pPr>
            <a:lvl7pPr marL="2741851" indent="0">
              <a:buNone/>
              <a:defRPr sz="1999"/>
            </a:lvl7pPr>
            <a:lvl8pPr marL="3198825" indent="0">
              <a:buNone/>
              <a:defRPr sz="1999"/>
            </a:lvl8pPr>
            <a:lvl9pPr marL="3655800" indent="0">
              <a:buNone/>
              <a:defRPr sz="1999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2AECAE-DB29-4A8D-9F16-57AD8818C6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975" indent="0">
              <a:buNone/>
              <a:defRPr sz="1400"/>
            </a:lvl2pPr>
            <a:lvl3pPr marL="913951" indent="0">
              <a:buNone/>
              <a:defRPr sz="1200"/>
            </a:lvl3pPr>
            <a:lvl4pPr marL="1370926" indent="0">
              <a:buNone/>
              <a:defRPr sz="1000"/>
            </a:lvl4pPr>
            <a:lvl5pPr marL="1827900" indent="0">
              <a:buNone/>
              <a:defRPr sz="1000"/>
            </a:lvl5pPr>
            <a:lvl6pPr marL="2284875" indent="0">
              <a:buNone/>
              <a:defRPr sz="1000"/>
            </a:lvl6pPr>
            <a:lvl7pPr marL="2741851" indent="0">
              <a:buNone/>
              <a:defRPr sz="1000"/>
            </a:lvl7pPr>
            <a:lvl8pPr marL="3198825" indent="0">
              <a:buNone/>
              <a:defRPr sz="1000"/>
            </a:lvl8pPr>
            <a:lvl9pPr marL="36558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2FBD9A-9528-4B73-9F12-36701F9276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9/25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E79C7D-9DA3-4A26-9FE8-ADC6DE6BBD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D3461B-E2B1-4E96-86D3-71806019B2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842372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1C8C28-D311-4258-B673-729333E8E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5063538-75B4-46A4-944C-5D1B45BDDCD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883D52-043D-422C-84F5-BE1A97AD01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9/2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B83D50-DDAE-4E35-B398-BAD98829A6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AB3A10-E5F4-49E7-89B5-E9FEE7AA71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15671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4906419-E9BD-4C88-9F8F-2BCBF79EFFC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6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C8878FD-21C2-418F-8804-F6610D6B74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1A0776-E3BC-4DE4-8945-96D3B3544E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9/2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AEF6A9-3878-4353-95BB-19BAC8AAC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1B9585-FFD7-4795-9BF2-F3B097749C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741651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1187621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2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982008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1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1522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li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Rectangle 89"/>
          <p:cNvSpPr/>
          <p:nvPr userDrawn="1"/>
        </p:nvSpPr>
        <p:spPr>
          <a:xfrm>
            <a:off x="1" y="0"/>
            <a:ext cx="5763491" cy="6858000"/>
          </a:xfrm>
          <a:prstGeom prst="rect">
            <a:avLst/>
          </a:prstGeom>
          <a:solidFill>
            <a:srgbClr val="ECEF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91" name="Content Placeholder 2"/>
          <p:cNvSpPr>
            <a:spLocks noGrp="1"/>
          </p:cNvSpPr>
          <p:nvPr>
            <p:ph idx="1"/>
          </p:nvPr>
        </p:nvSpPr>
        <p:spPr>
          <a:xfrm>
            <a:off x="360841" y="2650966"/>
            <a:ext cx="4470926" cy="1556071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marL="0" indent="0">
              <a:lnSpc>
                <a:spcPct val="100000"/>
              </a:lnSpc>
              <a:buNone/>
            </a:pPr>
            <a:r>
              <a:rPr lang="en-US" sz="3200" b="1">
                <a:solidFill>
                  <a:srgbClr val="002050"/>
                </a:solidFill>
                <a:latin typeface="+mn-lt"/>
                <a:ea typeface="+mj-ea"/>
              </a:rPr>
              <a:t>Technology leaders face a changing environment</a:t>
            </a:r>
            <a:endParaRPr lang="en-US" sz="2400" b="1">
              <a:solidFill>
                <a:srgbClr val="00205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26910999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30" indent="0">
              <a:buNone/>
              <a:defRPr/>
            </a:lvl2pPr>
            <a:lvl3pPr marL="448059" indent="0">
              <a:buNone/>
              <a:defRPr/>
            </a:lvl3pPr>
            <a:lvl4pPr marL="672088" indent="0">
              <a:buNone/>
              <a:defRPr/>
            </a:lvl4pPr>
            <a:lvl5pPr marL="896117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87517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4" y="1187646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2115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0" b="0">
                <a:latin typeface="+mn-lt"/>
              </a:defRPr>
            </a:lvl1pPr>
            <a:lvl2pPr marL="250478" indent="0">
              <a:buFont typeface="Wingdings" panose="05000000000000000000" pitchFamily="2" charset="2"/>
              <a:buNone/>
              <a:defRPr sz="2352" b="0"/>
            </a:lvl2pPr>
            <a:lvl3pPr marL="441835" indent="0">
              <a:buFont typeface="Wingdings" panose="05000000000000000000" pitchFamily="2" charset="2"/>
              <a:buNone/>
              <a:tabLst/>
              <a:defRPr sz="2156" b="0"/>
            </a:lvl3pPr>
            <a:lvl4pPr marL="639416" indent="0">
              <a:buFont typeface="Wingdings" panose="05000000000000000000" pitchFamily="2" charset="2"/>
              <a:buNone/>
              <a:defRPr sz="2156" b="0"/>
            </a:lvl4pPr>
            <a:lvl5pPr marL="836999" indent="0">
              <a:buFont typeface="Wingdings" panose="05000000000000000000" pitchFamily="2" charset="2"/>
              <a:buNone/>
              <a:tabLst/>
              <a:defRPr sz="2156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478" indent="0">
              <a:buFont typeface="Arial" panose="020B0604020202020204" pitchFamily="34" charset="0"/>
              <a:buNone/>
              <a:defRPr lang="en-US" sz="2352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835" indent="0">
              <a:buFont typeface="Arial" panose="020B0604020202020204" pitchFamily="34" charset="0"/>
              <a:buNone/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416" indent="0">
              <a:buFont typeface="Arial" panose="020B0604020202020204" pitchFamily="34" charset="0"/>
              <a:buNone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6999" indent="0">
              <a:buFont typeface="Arial" panose="020B0604020202020204" pitchFamily="34" charset="0"/>
              <a:buNone/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066" marR="0" lvl="0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066" marR="0" lvl="1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066" marR="0" lvl="2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066" marR="0" lvl="3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066" marR="0" lvl="4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48202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141" indent="-227141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0" b="0">
                <a:latin typeface="+mn-lt"/>
              </a:defRPr>
            </a:lvl1pPr>
            <a:lvl2pPr marL="418499" indent="-168022">
              <a:buFont typeface="Wingdings" panose="05000000000000000000" pitchFamily="2" charset="2"/>
              <a:buChar char=""/>
              <a:defRPr sz="2352" b="0"/>
            </a:lvl2pPr>
            <a:lvl3pPr marL="626972" indent="-185135">
              <a:buFont typeface="Wingdings" panose="05000000000000000000" pitchFamily="2" charset="2"/>
              <a:buChar char=""/>
              <a:tabLst/>
              <a:defRPr sz="2156" b="0"/>
            </a:lvl3pPr>
            <a:lvl4pPr marL="812106" indent="-172690">
              <a:buFont typeface="Wingdings" panose="05000000000000000000" pitchFamily="2" charset="2"/>
              <a:buChar char=""/>
              <a:defRPr sz="2156" b="0"/>
            </a:lvl4pPr>
            <a:lvl5pPr marL="1003465" indent="-166467">
              <a:buFont typeface="Wingdings" panose="05000000000000000000" pitchFamily="2" charset="2"/>
              <a:buChar char=""/>
              <a:tabLst/>
              <a:defRPr sz="2156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7644"/>
            <a:ext cx="5378548" cy="2429576"/>
          </a:xfrm>
        </p:spPr>
        <p:txBody>
          <a:bodyPr wrap="square">
            <a:spAutoFit/>
          </a:bodyPr>
          <a:lstStyle>
            <a:lvl1pPr marL="281592" indent="-281592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522" indent="-336044">
              <a:defRPr lang="en-US" sz="2352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7880" indent="-336044"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460" indent="-336044"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043" indent="-336044"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141" marR="0" lvl="0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141" marR="0" lvl="1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141" marR="0" lvl="2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141" marR="0" lvl="3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141" marR="0" lvl="4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55477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3755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8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2820499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88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2525729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98568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230911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4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05021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ex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425439" y="0"/>
            <a:ext cx="676656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60839" y="2571750"/>
            <a:ext cx="4610303" cy="1714500"/>
          </a:xfrm>
        </p:spPr>
        <p:txBody>
          <a:bodyPr anchor="ctr">
            <a:noAutofit/>
          </a:bodyPr>
          <a:lstStyle>
            <a:lvl1pPr marL="0" indent="0">
              <a:buNone/>
              <a:defRPr lang="en-US" sz="4000" kern="1200" dirty="0">
                <a:solidFill>
                  <a:prstClr val="white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10315303" y="1"/>
            <a:ext cx="1876697" cy="496389"/>
          </a:xfrm>
          <a:solidFill>
            <a:schemeClr val="bg1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2000" b="1" kern="0" dirty="0">
                <a:solidFill>
                  <a:schemeClr val="tx2"/>
                </a:solidFill>
                <a:latin typeface="+mn-lt"/>
                <a:ea typeface="Segoe UI" panose="020B0502040204020203" pitchFamily="34" charset="0"/>
              </a:defRPr>
            </a:lvl1pPr>
          </a:lstStyle>
          <a:p>
            <a:pPr marL="0" lvl="0" algn="ctr" defTabSz="930858">
              <a:spcBef>
                <a:spcPts val="612"/>
              </a:spcBef>
            </a:pPr>
            <a:r>
              <a:rPr lang="en-US"/>
              <a:t>Category</a:t>
            </a:r>
          </a:p>
        </p:txBody>
      </p:sp>
    </p:spTree>
    <p:extLst>
      <p:ext uri="{BB962C8B-B14F-4D97-AF65-F5344CB8AC3E}">
        <p14:creationId xmlns:p14="http://schemas.microsoft.com/office/powerpoint/2010/main" val="3914903365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104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88855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0302" y="289513"/>
            <a:ext cx="6904778" cy="899665"/>
          </a:xfrm>
        </p:spPr>
        <p:txBody>
          <a:bodyPr/>
          <a:lstStyle>
            <a:lvl1pPr>
              <a:defRPr sz="392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20303" y="4773828"/>
            <a:ext cx="6904016" cy="1793104"/>
          </a:xfrm>
        </p:spPr>
        <p:txBody>
          <a:bodyPr wrap="square">
            <a:noAutofit/>
          </a:bodyPr>
          <a:lstStyle>
            <a:lvl1pPr marL="0" indent="0">
              <a:spcBef>
                <a:spcPts val="1764"/>
              </a:spcBef>
              <a:buNone/>
              <a:defRPr sz="1960">
                <a:latin typeface="+mn-lt"/>
              </a:defRPr>
            </a:lvl1pPr>
            <a:lvl2pPr marL="224030" indent="0">
              <a:buNone/>
              <a:defRPr/>
            </a:lvl2pPr>
            <a:lvl3pPr marL="448059" indent="0">
              <a:buNone/>
              <a:defRPr/>
            </a:lvl3pPr>
            <a:lvl4pPr marL="672088" indent="0">
              <a:buNone/>
              <a:defRPr/>
            </a:lvl4pPr>
            <a:lvl5pPr marL="896117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Image of Ignite app on a Windows Device." title="Ignite event image">
            <a:extLst>
              <a:ext uri="{FF2B5EF4-FFF2-40B4-BE49-F238E27FC236}">
                <a16:creationId xmlns:a16="http://schemas.microsoft.com/office/drawing/2014/main" id="{E803C22C-E970-4ADA-A60C-5127C1C2C1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19" r="5881"/>
          <a:stretch/>
        </p:blipFill>
        <p:spPr>
          <a:xfrm>
            <a:off x="1" y="1"/>
            <a:ext cx="4828867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348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2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0" tIns="45710" rIns="45710" bIns="457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spcBef>
                <a:spcPct val="0"/>
              </a:spcBef>
              <a:spcAft>
                <a:spcPct val="0"/>
              </a:spcAft>
            </a:pPr>
            <a:endParaRPr lang="en-US" sz="1764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40" y="1197322"/>
            <a:ext cx="11653522" cy="2225866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24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18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27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2998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25909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1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38" tIns="179238" rIns="179238" bIns="179238" numCol="1" anchor="t" anchorCtr="0" compatLnSpc="1">
            <a:prstTxWarp prst="textNoShape">
              <a:avLst/>
            </a:prstTxWarp>
            <a:spAutoFit/>
          </a:bodyPr>
          <a:lstStyle/>
          <a:p>
            <a:pPr defTabSz="913650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873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9"/>
            <a:ext cx="11653523" cy="2396047"/>
          </a:xfrm>
          <a:prstGeom prst="rect">
            <a:avLst/>
          </a:prstGeom>
        </p:spPr>
        <p:txBody>
          <a:bodyPr/>
          <a:lstStyle>
            <a:lvl1pPr marL="284705" indent="-28470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073" indent="-275370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777" indent="-284705">
              <a:buClr>
                <a:schemeClr val="tx1"/>
              </a:buClr>
              <a:buSzPct val="90000"/>
              <a:buFont typeface="Arial" pitchFamily="34" charset="0"/>
              <a:buChar char="•"/>
              <a:defRPr sz="274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807" indent="-224030">
              <a:buClr>
                <a:schemeClr val="tx1"/>
              </a:buClr>
              <a:buSzPct val="90000"/>
              <a:buFont typeface="Arial" pitchFamily="34" charset="0"/>
              <a:buChar char="•"/>
              <a:defRPr sz="235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837" indent="-224030">
              <a:buClr>
                <a:schemeClr val="tx1"/>
              </a:buClr>
              <a:buSzPct val="90000"/>
              <a:buFont typeface="Arial" pitchFamily="34" charset="0"/>
              <a:buChar char="•"/>
              <a:defRPr sz="196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8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651841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bg>
      <p:bgPr>
        <a:solidFill>
          <a:srgbClr val="D2D2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205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/>
          </a:p>
        </p:txBody>
      </p:sp>
      <p:sp>
        <p:nvSpPr>
          <p:cNvPr id="13" name="Title 1"/>
          <p:cNvSpPr>
            <a:spLocks noGrp="1" noChangeAspect="1"/>
          </p:cNvSpPr>
          <p:nvPr>
            <p:ph type="title"/>
          </p:nvPr>
        </p:nvSpPr>
        <p:spPr>
          <a:xfrm>
            <a:off x="213423" y="2746096"/>
            <a:ext cx="11765156" cy="2315435"/>
          </a:xfrm>
          <a:prstGeom prst="rect">
            <a:avLst/>
          </a:prstGeom>
        </p:spPr>
        <p:txBody>
          <a:bodyPr lIns="91440" tIns="91440" bIns="91440" anchor="t"/>
          <a:lstStyle>
            <a:lvl1pPr algn="l">
              <a:defRPr sz="5996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8699075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5670380"/>
            <a:ext cx="8962384" cy="884990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196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11653459" cy="1801436"/>
          </a:xfrm>
          <a:noFill/>
        </p:spPr>
        <p:txBody>
          <a:bodyPr lIns="146304" tIns="91440" rIns="146304" bIns="91440" anchor="t" anchorCtr="0"/>
          <a:lstStyle>
            <a:lvl1pPr>
              <a:defRPr sz="5292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9930707" y="6006587"/>
            <a:ext cx="1813243" cy="38712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303" y="301619"/>
            <a:ext cx="3584143" cy="567015"/>
          </a:xfrm>
        </p:spPr>
        <p:txBody>
          <a:bodyPr lIns="182880" tIns="146304" rIns="182880" bIns="146304"/>
          <a:lstStyle>
            <a:lvl1pPr marL="0" indent="0">
              <a:buNone/>
              <a:defRPr sz="1960">
                <a:latin typeface="+mn-lt"/>
              </a:defRPr>
            </a:lvl1pPr>
            <a:lvl2pPr marL="336044" indent="0">
              <a:buNone/>
              <a:defRPr sz="1960"/>
            </a:lvl2pPr>
            <a:lvl3pPr marL="560073" indent="0">
              <a:buNone/>
              <a:defRPr sz="1960"/>
            </a:lvl3pPr>
            <a:lvl4pPr marL="784103" indent="0">
              <a:buNone/>
              <a:defRPr sz="1960"/>
            </a:lvl4pPr>
            <a:lvl5pPr marL="1008132" indent="0">
              <a:buNone/>
              <a:defRPr sz="1960"/>
            </a:lvl5pPr>
          </a:lstStyle>
          <a:p>
            <a:pPr lvl="0"/>
            <a:r>
              <a:rPr lang="en-US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20925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5670380"/>
            <a:ext cx="8962384" cy="884990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196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11653459" cy="1801436"/>
          </a:xfrm>
          <a:noFill/>
        </p:spPr>
        <p:txBody>
          <a:bodyPr lIns="146304" tIns="91440" rIns="146304" bIns="91440" anchor="t" anchorCtr="0"/>
          <a:lstStyle>
            <a:lvl1pPr>
              <a:defRPr sz="5292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129869" y="5984140"/>
            <a:ext cx="1607625" cy="403448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89619" tIns="44809" rIns="89619" bIns="44809" numCol="1" anchor="t" anchorCtr="0" compatLnSpc="1">
            <a:prstTxWarp prst="textNoShape">
              <a:avLst/>
            </a:prstTxWarp>
          </a:bodyPr>
          <a:lstStyle/>
          <a:p>
            <a:endParaRPr lang="en-US" sz="1764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303" y="301619"/>
            <a:ext cx="3584143" cy="567015"/>
          </a:xfrm>
        </p:spPr>
        <p:txBody>
          <a:bodyPr lIns="182880" tIns="146304" rIns="182880" bIns="146304"/>
          <a:lstStyle>
            <a:lvl1pPr marL="0" indent="0">
              <a:buNone/>
              <a:defRPr sz="1960">
                <a:latin typeface="+mn-lt"/>
              </a:defRPr>
            </a:lvl1pPr>
            <a:lvl2pPr marL="336044" indent="0">
              <a:buNone/>
              <a:defRPr sz="1960"/>
            </a:lvl2pPr>
            <a:lvl3pPr marL="560073" indent="0">
              <a:buNone/>
              <a:defRPr sz="1960"/>
            </a:lvl3pPr>
            <a:lvl4pPr marL="784103" indent="0">
              <a:buNone/>
              <a:defRPr sz="1960"/>
            </a:lvl4pPr>
            <a:lvl5pPr marL="1008132" indent="0">
              <a:buNone/>
              <a:defRPr sz="1960"/>
            </a:lvl5pPr>
          </a:lstStyle>
          <a:p>
            <a:pPr lvl="0"/>
            <a:r>
              <a:rPr lang="en-US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2730478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84808"/>
          </a:xfrm>
        </p:spPr>
        <p:txBody>
          <a:bodyPr>
            <a:spAutoFit/>
          </a:bodyPr>
          <a:lstStyle>
            <a:lvl3pPr>
              <a:defRPr sz="2352"/>
            </a:lvl3pPr>
            <a:lvl4pPr>
              <a:defRPr sz="1960"/>
            </a:lvl4pPr>
            <a:lvl5pPr>
              <a:defRPr sz="19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262847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770BDB5-9302-4A72-AFF3-5588E374E395}" type="datetimeFigureOut">
              <a:rPr lang="en-US" smtClean="0">
                <a:solidFill>
                  <a:srgbClr val="505050"/>
                </a:solidFill>
              </a:rPr>
              <a:pPr/>
              <a:t>9/25/2019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358B1C62-6523-40EB-A5E7-63AFE8AC4F95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6298642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17114" y="1635896"/>
            <a:ext cx="8605649" cy="4931036"/>
          </a:xfrm>
        </p:spPr>
        <p:txBody>
          <a:bodyPr wrap="square">
            <a:noAutofit/>
          </a:bodyPr>
          <a:lstStyle>
            <a:lvl3pPr>
              <a:defRPr sz="2352"/>
            </a:lvl3pPr>
            <a:lvl4pPr>
              <a:defRPr sz="1960"/>
            </a:lvl4pPr>
            <a:lvl5pPr>
              <a:defRPr sz="19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77582" y="1635896"/>
            <a:ext cx="2689274" cy="4931036"/>
          </a:xfrm>
        </p:spPr>
        <p:txBody>
          <a:bodyPr>
            <a:noAutofit/>
          </a:bodyPr>
          <a:lstStyle>
            <a:lvl1pPr marL="0" indent="0">
              <a:buNone/>
              <a:defRPr kumimoji="0" lang="en-US" sz="2352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8958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6050967"/>
      </p:ext>
    </p:extLst>
  </p:cSld>
  <p:clrMapOvr>
    <a:masterClrMapping/>
  </p:clrMapOvr>
  <p:transition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5665" y="2084173"/>
            <a:ext cx="9860672" cy="1793104"/>
          </a:xfrm>
        </p:spPr>
        <p:txBody>
          <a:bodyPr/>
          <a:lstStyle>
            <a:lvl1pPr>
              <a:defRPr sz="4704"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4832498"/>
      </p:ext>
    </p:extLst>
  </p:cSld>
  <p:clrMapOvr>
    <a:masterClrMapping/>
  </p:clrMapOvr>
  <p:transition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77582" y="1635896"/>
            <a:ext cx="2689274" cy="4931036"/>
          </a:xfrm>
        </p:spPr>
        <p:txBody>
          <a:bodyPr>
            <a:noAutofit/>
          </a:bodyPr>
          <a:lstStyle>
            <a:lvl1pPr marL="336044" indent="-336044">
              <a:buNone/>
              <a:defRPr kumimoji="0" lang="en-US" sz="2352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8958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</a:t>
            </a:r>
            <a:br>
              <a:rPr lang="en-US"/>
            </a:br>
            <a:r>
              <a:rPr lang="en-US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025715"/>
      </p:ext>
    </p:extLst>
  </p:cSld>
  <p:clrMapOvr>
    <a:masterClrMapping/>
  </p:clrMapOvr>
  <p:transition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5" y="2980724"/>
            <a:ext cx="7171401" cy="896552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00"/>
              </a:spcAft>
              <a:buNone/>
              <a:defRPr lang="en-US" sz="3528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862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defRPr sz="1862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defRPr sz="1862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defRPr sz="1862">
                <a:solidFill>
                  <a:srgbClr val="FFFFFF"/>
                </a:solidFill>
              </a:defRPr>
            </a:lvl5pPr>
          </a:lstStyle>
          <a:p>
            <a:pPr marL="0" lvl="0" indent="0" algn="l" defTabSz="895888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69241" y="1507552"/>
            <a:ext cx="3854647" cy="3842896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2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1840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51932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5" y="2980724"/>
            <a:ext cx="7171401" cy="896552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528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95888" rtl="0" eaLnBrk="1" latinLnBrk="0" hangingPunct="1">
              <a:spcBef>
                <a:spcPct val="2000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69243" y="291070"/>
            <a:ext cx="11653522" cy="896552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140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4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69241" y="1507552"/>
            <a:ext cx="3854647" cy="3842896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2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1840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554821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5" y="2980724"/>
            <a:ext cx="7171401" cy="896552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528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95888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69240" y="1505896"/>
            <a:ext cx="3854627" cy="3846208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4464233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504822"/>
          </a:xfrm>
        </p:spPr>
        <p:txBody>
          <a:bodyPr>
            <a:spAutoFit/>
          </a:bodyPr>
          <a:lstStyle>
            <a:lvl1pPr>
              <a:defRPr lang="en-US" sz="2352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72519" indent="-236475">
              <a:defRPr lang="en-US" sz="2352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60016" indent="-336044">
              <a:defRPr lang="en-US" sz="2352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1960"/>
            </a:lvl4pPr>
            <a:lvl5pPr>
              <a:defRPr sz="1960"/>
            </a:lvl5pPr>
          </a:lstStyle>
          <a:p>
            <a:pPr marL="0" lvl="0" indent="0" algn="l" defTabSz="895888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895888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895888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6810934"/>
      </p:ext>
    </p:extLst>
  </p:cSld>
  <p:clrMapOvr>
    <a:masterClrMapping/>
  </p:clrMapOvr>
  <p:transition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6761150"/>
      </p:ext>
    </p:extLst>
  </p:cSld>
  <p:clrMapOvr>
    <a:masterClrMapping/>
  </p:clrMapOvr>
  <p:transition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095549" y="2425051"/>
            <a:ext cx="8000903" cy="2007903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89619" tIns="44809" rIns="89619" bIns="44809" numCol="1" anchor="t" anchorCtr="0" compatLnSpc="1">
            <a:prstTxWarp prst="textNoShape">
              <a:avLst/>
            </a:prstTxWarp>
          </a:bodyPr>
          <a:lstStyle/>
          <a:p>
            <a:endParaRPr lang="en-US" sz="1764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9930707" y="6006587"/>
            <a:ext cx="1813243" cy="3871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75374679"/>
      </p:ext>
    </p:extLst>
  </p:cSld>
  <p:clrMapOvr>
    <a:masterClrMapping/>
  </p:clrMapOvr>
  <p:transition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171618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38" tIns="143391" rIns="179238" bIns="143391" numCol="1" anchor="t" anchorCtr="0" compatLnSpc="1">
            <a:prstTxWarp prst="textNoShape">
              <a:avLst/>
            </a:prstTxWarp>
            <a:spAutoFit/>
          </a:bodyPr>
          <a:lstStyle/>
          <a:p>
            <a:pPr defTabSz="913650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206" y="3085694"/>
            <a:ext cx="3227129" cy="687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99134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2225869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69239" y="2262478"/>
            <a:ext cx="1532465" cy="316989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1840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6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651738" y="2256322"/>
            <a:ext cx="3169353" cy="318220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6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095785" y="2257102"/>
            <a:ext cx="3826977" cy="3180644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6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076404" y="2256137"/>
            <a:ext cx="2300636" cy="318257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1840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6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4987159"/>
      </p:ext>
    </p:extLst>
  </p:cSld>
  <p:clrMapOvr>
    <a:masterClrMapping/>
  </p:clrMapOvr>
  <p:transition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9"/>
            <a:ext cx="11653523" cy="2396047"/>
          </a:xfrm>
          <a:prstGeom prst="rect">
            <a:avLst/>
          </a:prstGeom>
        </p:spPr>
        <p:txBody>
          <a:bodyPr/>
          <a:lstStyle>
            <a:lvl1pPr marL="284705" indent="-28470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073" indent="-275370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777" indent="-284705">
              <a:buClr>
                <a:schemeClr val="tx1"/>
              </a:buClr>
              <a:buSzPct val="90000"/>
              <a:buFont typeface="Arial" pitchFamily="34" charset="0"/>
              <a:buChar char="•"/>
              <a:defRPr sz="274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807" indent="-224030">
              <a:buClr>
                <a:schemeClr val="tx1"/>
              </a:buClr>
              <a:buSzPct val="90000"/>
              <a:buFont typeface="Arial" pitchFamily="34" charset="0"/>
              <a:buChar char="•"/>
              <a:defRPr sz="235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837" indent="-224030">
              <a:buClr>
                <a:schemeClr val="tx1"/>
              </a:buClr>
              <a:buSzPct val="90000"/>
              <a:buFont typeface="Arial" pitchFamily="34" charset="0"/>
              <a:buChar char="•"/>
              <a:defRPr sz="196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8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30764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9"/>
            <a:ext cx="11653523" cy="2396047"/>
          </a:xfrm>
          <a:prstGeom prst="rect">
            <a:avLst/>
          </a:prstGeom>
        </p:spPr>
        <p:txBody>
          <a:bodyPr/>
          <a:lstStyle>
            <a:lvl1pPr marL="284705" indent="-28470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073" indent="-275370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777" indent="-284705">
              <a:buClr>
                <a:schemeClr val="tx1"/>
              </a:buClr>
              <a:buSzPct val="90000"/>
              <a:buFont typeface="Arial" pitchFamily="34" charset="0"/>
              <a:buChar char="•"/>
              <a:defRPr sz="274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807" indent="-224030">
              <a:buClr>
                <a:schemeClr val="tx1"/>
              </a:buClr>
              <a:buSzPct val="90000"/>
              <a:buFont typeface="Arial" pitchFamily="34" charset="0"/>
              <a:buChar char="•"/>
              <a:defRPr sz="235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837" indent="-224030">
              <a:buClr>
                <a:schemeClr val="tx1"/>
              </a:buClr>
              <a:buSzPct val="90000"/>
              <a:buFont typeface="Arial" pitchFamily="34" charset="0"/>
              <a:buChar char="•"/>
              <a:defRPr sz="196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9886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1">
    <p:bg>
      <p:bgPr>
        <a:solidFill>
          <a:srgbClr val="2428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5026966"/>
      </p:ext>
    </p:extLst>
  </p:cSld>
  <p:clrMapOvr>
    <a:masterClrMapping/>
  </p:clrMapOvr>
  <p:transition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8942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0"/>
            </a:lvl2pPr>
            <a:lvl3pPr marL="223987" indent="0">
              <a:buNone/>
              <a:defRPr/>
            </a:lvl3pPr>
            <a:lvl4pPr marL="447973" indent="0">
              <a:buNone/>
              <a:defRPr/>
            </a:lvl4pPr>
            <a:lvl5pPr marL="67195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66887529"/>
      </p:ext>
    </p:extLst>
  </p:cSld>
  <p:clrMapOvr>
    <a:masterClrMapping/>
  </p:clrMapOvr>
  <p:transition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DB89E-ABAB-49F5-A428-A943B585F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41"/>
            <a:ext cx="10515600" cy="2852737"/>
          </a:xfrm>
        </p:spPr>
        <p:txBody>
          <a:bodyPr anchor="b"/>
          <a:lstStyle>
            <a:lvl1pPr>
              <a:defRPr sz="599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CC9F2F-3B49-407C-B533-ED5E1BA232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6"/>
            <a:ext cx="10515600" cy="516936"/>
          </a:xfrm>
        </p:spPr>
        <p:txBody>
          <a:bodyPr/>
          <a:lstStyle>
            <a:lvl1pPr marL="0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1pPr>
            <a:lvl2pPr marL="456975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3951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0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9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87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8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82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FF8A69-AC4B-4BB5-BDE6-1AB53FED59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9/2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9605CF-465F-43C8-888E-9741D61578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D7AC51-770B-4C2B-B1E0-7CD4889FC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303510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sitting at a table using a computer&#10;&#10;Description generated with high confidence">
            <a:extLst>
              <a:ext uri="{FF2B5EF4-FFF2-40B4-BE49-F238E27FC236}">
                <a16:creationId xmlns:a16="http://schemas.microsoft.com/office/drawing/2014/main" id="{AC14534E-46CD-4303-B862-80358F1B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" y="0"/>
            <a:ext cx="12192000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-2" y="-5304"/>
            <a:ext cx="4526282" cy="6863304"/>
          </a:xfrm>
          <a:prstGeom prst="rect">
            <a:avLst/>
          </a:prstGeom>
          <a:gradFill>
            <a:gsLst>
              <a:gs pos="0">
                <a:schemeClr val="bg1">
                  <a:alpha val="71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46266" rIns="182832" bIns="1462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293" y="256398"/>
            <a:ext cx="1829371" cy="673018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7682" y="2084172"/>
            <a:ext cx="6274974" cy="3586208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2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3" y="2077814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704" spc="-98" baseline="0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4" y="3877279"/>
            <a:ext cx="6276530" cy="651821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3136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353241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89544870"/>
      </p:ext>
    </p:extLst>
  </p:cSld>
  <p:clrMapOvr>
    <a:masterClrMapping/>
  </p:clrMapOvr>
  <p:transition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650D8C5-8B94-42F7-99D2-EE6C08F638E0}"/>
              </a:ext>
            </a:extLst>
          </p:cNvPr>
          <p:cNvSpPr/>
          <p:nvPr userDrawn="1"/>
        </p:nvSpPr>
        <p:spPr bwMode="auto">
          <a:xfrm>
            <a:off x="1" y="1458686"/>
            <a:ext cx="12192000" cy="5399314"/>
          </a:xfrm>
          <a:prstGeom prst="rect">
            <a:avLst/>
          </a:prstGeom>
          <a:solidFill>
            <a:srgbClr val="F7F7F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46266" rIns="182832" bIns="1462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2464396"/>
      </p:ext>
    </p:extLst>
  </p:cSld>
  <p:clrMapOvr>
    <a:masterClrMapping/>
  </p:clrMapOvr>
  <p:transition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9231" y="3145043"/>
            <a:ext cx="3288506" cy="704445"/>
          </a:xfrm>
          <a:prstGeom prst="rect">
            <a:avLst/>
          </a:prstGeom>
        </p:spPr>
      </p:pic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266127" y="5819470"/>
            <a:ext cx="11659748" cy="888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79212" tIns="143372" rIns="179212" bIns="143372"/>
          <a:lstStyle>
            <a:lvl1pPr>
              <a:defRPr>
                <a:solidFill>
                  <a:schemeClr val="tx1"/>
                </a:solidFill>
                <a:latin typeface="Segoe U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5pPr>
            <a:lvl6pPr marL="25146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6pPr>
            <a:lvl7pPr marL="29718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7pPr>
            <a:lvl8pPr marL="34290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8pPr>
            <a:lvl9pPr marL="38862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9pPr>
          </a:lstStyle>
          <a:p>
            <a:pPr defTabSz="913056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© 2017 Microsoft Corporation. All rights reserved. Microsoft, Windows, and other product names are or may be registered trademarks and/or trademarks in the U.S. and/or other countries.</a:t>
            </a:r>
          </a:p>
          <a:p>
            <a:pPr defTabSz="913056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The information herein is for informational purposes only and represents the current view of Microsoft Corporation as of the date of this presentation. Because Microsoft must respond to changing market</a:t>
            </a:r>
          </a:p>
          <a:p>
            <a:pPr defTabSz="913056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conditions, it should not be interpreted to be a commitment on the part of Microsoft, and Microsoft cannot guarantee the accuracy of any information provided after the date of this presentation.</a:t>
            </a:r>
          </a:p>
          <a:p>
            <a:pPr defTabSz="913056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2928710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-2" y="4790977"/>
            <a:ext cx="4178809" cy="563231"/>
          </a:xfrm>
          <a:solidFill>
            <a:schemeClr val="bg2"/>
          </a:solidFill>
        </p:spPr>
        <p:txBody>
          <a:bodyPr vert="horz" lIns="457200" tIns="182880" rIns="365760" bIns="182880" rtlCol="0">
            <a:spAutoFit/>
          </a:bodyPr>
          <a:lstStyle>
            <a:lvl1pPr>
              <a:defRPr lang="en-US" sz="1400" b="1" smtClean="0">
                <a:solidFill>
                  <a:srgbClr val="002050"/>
                </a:solidFill>
                <a:latin typeface="Segoe UI"/>
                <a:cs typeface=""/>
              </a:defRPr>
            </a:lvl1pPr>
            <a:lvl2pPr>
              <a:defRPr lang="en-US" smtClean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lang="en-US" smtClean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lang="en-US" smtClean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lang="en-US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marL="0" lvl="0" indent="0">
              <a:spcBef>
                <a:spcPts val="800"/>
              </a:spcBef>
              <a:spcAft>
                <a:spcPts val="600"/>
              </a:spcAft>
              <a:buClr>
                <a:srgbClr val="00C0F9"/>
              </a:buClr>
              <a:buNone/>
            </a:pPr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465" y="334170"/>
            <a:ext cx="5406864" cy="892552"/>
          </a:xfrm>
        </p:spPr>
        <p:txBody>
          <a:bodyPr>
            <a:no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7917466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4" y="2629145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3" y="2914179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4" y="3199213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5" y="1774043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3" y="2059077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5" y="2344111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4" y="918939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3" y="1203975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4" y="1489009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5" y="63839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3" y="348873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5" y="633907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4" y="6049553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3" y="6334587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4" y="6619613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5" y="5194451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3" y="5479485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5" y="5764519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4" y="4339349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3" y="4624383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4" y="4909417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5" y="3484247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3" y="3769280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5" y="4054315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sp>
        <p:nvSpPr>
          <p:cNvPr id="2" name="Rectangle 1"/>
          <p:cNvSpPr/>
          <p:nvPr userDrawn="1"/>
        </p:nvSpPr>
        <p:spPr bwMode="auto">
          <a:xfrm>
            <a:off x="1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46266" rIns="182832" bIns="1462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5141639"/>
      </p:ext>
    </p:extLst>
  </p:cSld>
  <p:clrMapOvr>
    <a:masterClrMapping/>
  </p:clrMapOvr>
  <p:transition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80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0"/>
            </a:lvl2pPr>
            <a:lvl3pPr marL="223987" indent="0">
              <a:buNone/>
              <a:defRPr/>
            </a:lvl3pPr>
            <a:lvl4pPr marL="447973" indent="0">
              <a:buNone/>
              <a:defRPr/>
            </a:lvl4pPr>
            <a:lvl5pPr marL="67195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1315713"/>
      </p:ext>
    </p:extLst>
  </p:cSld>
  <p:clrMapOvr>
    <a:masterClrMapping/>
  </p:clrMapOvr>
  <p:transition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2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4" y="5997082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0">
                <a:latin typeface="+mn-lt"/>
              </a:defRPr>
            </a:lvl1pPr>
            <a:lvl2pPr marL="336044" indent="0">
              <a:buNone/>
              <a:defRPr sz="1960"/>
            </a:lvl2pPr>
            <a:lvl3pPr marL="560073" indent="0">
              <a:buNone/>
              <a:defRPr sz="1960"/>
            </a:lvl3pPr>
            <a:lvl4pPr marL="784103" indent="0">
              <a:buNone/>
              <a:defRPr sz="1960"/>
            </a:lvl4pPr>
            <a:lvl5pPr marL="1008132" indent="0">
              <a:buNone/>
              <a:defRPr sz="1960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15784601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9" dur="9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8" grpId="2"/>
    </p:bld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4" y="1187646"/>
            <a:ext cx="11655078" cy="202767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7760559"/>
      </p:ext>
    </p:extLst>
  </p:cSld>
  <p:clrMapOvr>
    <a:masterClrMapping/>
  </p:clrMapOvr>
  <p:transition spd="med"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 blue">
    <p:bg>
      <p:bgPr>
        <a:solidFill>
          <a:srgbClr val="02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E73B716-5AC1-4E6F-99C0-F195B0C587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804" y="2540313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Azure DevOps presentation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E78FD896-9F6B-4251-9F12-35FEF1AF74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4804" y="4342824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65" spc="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1F9C5D-BBFD-AE42-A1D5-DA2C27C2E9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439310"/>
            <a:ext cx="1335673" cy="190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352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5FBC1E75-E2E7-40DF-9B34-E7ECA97A3F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804" y="2540313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Azure DevOps presentation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1BFA596-B43C-4DAC-A798-0D495345CD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4804" y="4342824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65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D4442CC-A341-2548-8632-8304206EF6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439310"/>
            <a:ext cx="1335673" cy="190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44493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MSFT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5FBC1E75-E2E7-40DF-9B34-E7ECA97A3F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804" y="2540313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Azure DevOps presentation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1BFA596-B43C-4DAC-A798-0D495345CD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4804" y="4342824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65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430372D-8606-427F-81BF-A215D788EA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875" y="252099"/>
            <a:ext cx="1970160" cy="724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8385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 white Azure DevO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3326A775-9A41-46BA-A0F5-6200093FCA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6141" y="2605914"/>
            <a:ext cx="4877472" cy="4187624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3532A61-7338-495C-8787-A222781205FF}"/>
              </a:ext>
            </a:extLst>
          </p:cNvPr>
          <p:cNvSpPr/>
          <p:nvPr userDrawn="1"/>
        </p:nvSpPr>
        <p:spPr bwMode="auto">
          <a:xfrm>
            <a:off x="426425" y="2128263"/>
            <a:ext cx="7477989" cy="3586208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12028E2-C5DC-4CA9-88C9-D5024B2AD4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974" y="2540313"/>
            <a:ext cx="7028471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Azure DevOps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EFA9DF5-3A2A-422C-B2A6-A700C5CFD6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975" y="4342824"/>
            <a:ext cx="6107853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65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8F17F8D-94AF-494A-9DEA-6500CB1B69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439310"/>
            <a:ext cx="1335673" cy="190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5646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60897" y="1189288"/>
            <a:ext cx="3621494" cy="454391"/>
          </a:xfrm>
        </p:spPr>
        <p:txBody>
          <a:bodyPr lIns="0" tIns="0" rIns="0" bIns="0"/>
          <a:lstStyle>
            <a:lvl1pPr>
              <a:defRPr sz="1765" b="1" spc="0" baseline="0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360897" y="1646473"/>
            <a:ext cx="3621494" cy="3289228"/>
          </a:xfrm>
        </p:spPr>
        <p:txBody>
          <a:bodyPr wrap="square" lIns="0" tIns="0" rIns="0" bIns="0">
            <a:noAutofit/>
          </a:bodyPr>
          <a:lstStyle>
            <a:lvl1pPr marL="0" marR="0" indent="0" algn="l" defTabSz="507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765" spc="0" baseline="0">
                <a:solidFill>
                  <a:schemeClr val="tx2"/>
                </a:solidFill>
                <a:latin typeface="+mn-lt"/>
              </a:defRPr>
            </a:lvl1pPr>
            <a:lvl2pPr marL="224097" indent="0">
              <a:buNone/>
              <a:defRPr sz="1765"/>
            </a:lvl2pPr>
            <a:lvl3pPr marL="448193" indent="0">
              <a:buNone/>
              <a:defRPr sz="1765"/>
            </a:lvl3pPr>
            <a:lvl4pPr marL="672290" indent="0">
              <a:buNone/>
              <a:defRPr sz="1765"/>
            </a:lvl4pPr>
            <a:lvl5pPr marL="896386" indent="0">
              <a:buNone/>
              <a:defRPr sz="1765"/>
            </a:lvl5pPr>
          </a:lstStyle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3B79444-4BA3-4CE3-9F8D-00DECAF267EE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D886E38-6DEB-477A-985F-0D8CB205C5D0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9F9B269D-571A-44FF-AE48-CF094C28B01C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3412800"/>
      </p:ext>
    </p:extLst>
  </p:cSld>
  <p:clrMapOvr>
    <a:masterClrMapping/>
  </p:clrMapOvr>
  <p:transition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20573"/>
            <a:ext cx="11339774" cy="1106487"/>
          </a:xfrm>
        </p:spPr>
        <p:txBody>
          <a:bodyPr wrap="square" lIns="0" tIns="0" rIns="0" bIns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765" b="1" i="0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First level Segoe UI </a:t>
            </a:r>
            <a:r>
              <a:rPr lang="en-US" err="1"/>
              <a:t>Semibold</a:t>
            </a:r>
            <a:r>
              <a:rPr lang="en-US"/>
              <a:t> 18pt</a:t>
            </a:r>
          </a:p>
          <a:p>
            <a:pPr lvl="1"/>
            <a:r>
              <a:rPr lang="en-US"/>
              <a:t>Second level Segoe UI 18pt</a:t>
            </a:r>
          </a:p>
          <a:p>
            <a:pPr lvl="2"/>
            <a:r>
              <a:rPr lang="en-US"/>
              <a:t>Third level Segoe UI 14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6pt</a:t>
            </a:r>
          </a:p>
        </p:txBody>
      </p:sp>
    </p:spTree>
    <p:extLst>
      <p:ext uri="{BB962C8B-B14F-4D97-AF65-F5344CB8AC3E}">
        <p14:creationId xmlns:p14="http://schemas.microsoft.com/office/powerpoint/2010/main" val="3941473768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770BDB5-9302-4A72-AFF3-5588E374E395}" type="datetimeFigureOut">
              <a:rPr lang="en-US" smtClean="0">
                <a:solidFill>
                  <a:srgbClr val="505050"/>
                </a:solidFill>
              </a:rPr>
              <a:pPr/>
              <a:t>9/25/2019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358B1C62-6523-40EB-A5E7-63AFE8AC4F95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927214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ody with bulle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20573"/>
            <a:ext cx="11339774" cy="1106487"/>
          </a:xfrm>
        </p:spPr>
        <p:txBody>
          <a:bodyPr wrap="square" lIns="0" tIns="0" rIns="0" bIns="0">
            <a:spAutoFit/>
          </a:bodyPr>
          <a:lstStyle>
            <a:lvl1pPr marL="280121" indent="-28012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Font typeface="Arial" panose="020B0604020202020204" pitchFamily="34" charset="0"/>
              <a:buChar char="•"/>
              <a:defRPr sz="1765" b="0" i="0">
                <a:solidFill>
                  <a:srgbClr val="000000"/>
                </a:solidFill>
                <a:latin typeface="+mj-lt"/>
              </a:defRPr>
            </a:lvl1pPr>
            <a:lvl2pPr marL="504217" indent="-28012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Font typeface="Arial" panose="020B0604020202020204" pitchFamily="34" charset="0"/>
              <a:buChar char="•"/>
              <a:defRPr sz="1765">
                <a:solidFill>
                  <a:srgbClr val="000000"/>
                </a:solidFill>
              </a:defRPr>
            </a:lvl2pPr>
            <a:lvl3pPr marL="728314" indent="-28012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Font typeface="Arial" panose="020B0604020202020204" pitchFamily="34" charset="0"/>
              <a:buChar char="•"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First level Segoe UI </a:t>
            </a:r>
            <a:r>
              <a:rPr lang="en-US" err="1"/>
              <a:t>Semibold</a:t>
            </a:r>
            <a:r>
              <a:rPr lang="en-US"/>
              <a:t> 18pt</a:t>
            </a:r>
          </a:p>
          <a:p>
            <a:pPr lvl="1"/>
            <a:r>
              <a:rPr lang="en-US"/>
              <a:t>Second level Segoe UI 18pt</a:t>
            </a:r>
          </a:p>
          <a:p>
            <a:pPr lvl="2"/>
            <a:r>
              <a:rPr lang="en-US"/>
              <a:t>Third level Segoe UI 14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6pt (with bullets)</a:t>
            </a:r>
          </a:p>
        </p:txBody>
      </p:sp>
    </p:spTree>
    <p:extLst>
      <p:ext uri="{BB962C8B-B14F-4D97-AF65-F5344CB8AC3E}">
        <p14:creationId xmlns:p14="http://schemas.microsoft.com/office/powerpoint/2010/main" val="4073317878"/>
      </p:ext>
    </p:extLst>
  </p:cSld>
  <p:clrMapOvr>
    <a:masterClrMapping/>
  </p:clrMapOvr>
  <p:transition>
    <p:fad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796552879"/>
      </p:ext>
    </p:extLst>
  </p:cSld>
  <p:clrMapOvr>
    <a:masterClrMapping/>
  </p:clrMapOvr>
  <p:transition>
    <p:fad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24690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ree column text layout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3290"/>
            <a:ext cx="3630521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FCB46-ABD2-4E30-8117-D04A484725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2313290"/>
            <a:ext cx="3623050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2313291"/>
            <a:ext cx="3630521" cy="2649187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76641618"/>
      </p:ext>
    </p:extLst>
  </p:cSld>
  <p:clrMapOvr>
    <a:masterClrMapping/>
  </p:clrMapOvr>
  <p:transition>
    <p:fade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20574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ree column text layout (with bullets)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0842"/>
            <a:ext cx="3630521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FCB46-ABD2-4E30-8117-D04A484725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2310842"/>
            <a:ext cx="3623050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2310841"/>
            <a:ext cx="3630521" cy="2611809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4552412"/>
      </p:ext>
    </p:extLst>
  </p:cSld>
  <p:clrMapOvr>
    <a:masterClrMapping/>
  </p:clrMapOvr>
  <p:transition>
    <p:fade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14882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0715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wo column text layout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3289"/>
            <a:ext cx="5555966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.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9612" y="2313290"/>
            <a:ext cx="5547873" cy="2602491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. </a:t>
            </a:r>
          </a:p>
        </p:txBody>
      </p:sp>
    </p:spTree>
    <p:extLst>
      <p:ext uri="{BB962C8B-B14F-4D97-AF65-F5344CB8AC3E}">
        <p14:creationId xmlns:p14="http://schemas.microsoft.com/office/powerpoint/2010/main" val="870108383"/>
      </p:ext>
    </p:extLst>
  </p:cSld>
  <p:clrMapOvr>
    <a:masterClrMapping/>
  </p:clrMapOvr>
  <p:transition>
    <p:fade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14882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wo column text layout (with bullets)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3289"/>
            <a:ext cx="5555966" cy="2605274"/>
          </a:xfrm>
        </p:spPr>
        <p:txBody>
          <a:bodyPr lIns="0" tIns="0" rIns="0" bIns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 b="1">
                <a:solidFill>
                  <a:schemeClr val="tx2"/>
                </a:solidFill>
                <a:latin typeface="+mn-lt"/>
              </a:defRPr>
            </a:lvl1pPr>
            <a:lvl2pPr marL="280121" marR="0" indent="-280121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 </a:t>
            </a:r>
          </a:p>
          <a:p>
            <a:pPr lvl="1"/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</a:t>
            </a:r>
          </a:p>
          <a:p>
            <a:pPr lvl="1"/>
            <a:r>
              <a:rPr lang="en-US"/>
              <a:t>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</a:t>
            </a:r>
          </a:p>
          <a:p>
            <a:pPr lvl="1"/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endParaRPr lang="en-US"/>
          </a:p>
          <a:p>
            <a:pPr lvl="1"/>
            <a:r>
              <a:rPr lang="en-US" err="1"/>
              <a:t>Pariatur</a:t>
            </a:r>
            <a:r>
              <a:rPr lang="en-US"/>
              <a:t>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</a:t>
            </a:r>
          </a:p>
          <a:p>
            <a:pPr lvl="1"/>
            <a:r>
              <a:rPr lang="en-US"/>
              <a:t>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 lorem ipsum dolor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9612" y="2313291"/>
            <a:ext cx="5547873" cy="2605273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280121" marR="0" indent="-280121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 </a:t>
            </a:r>
          </a:p>
          <a:p>
            <a:pPr lvl="1"/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</a:t>
            </a:r>
          </a:p>
          <a:p>
            <a:pPr lvl="1"/>
            <a:r>
              <a:rPr lang="en-US"/>
              <a:t>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</a:t>
            </a:r>
          </a:p>
          <a:p>
            <a:pPr lvl="1"/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endParaRPr lang="en-US"/>
          </a:p>
          <a:p>
            <a:pPr lvl="1"/>
            <a:r>
              <a:rPr lang="en-US" err="1"/>
              <a:t>Pariatur</a:t>
            </a:r>
            <a:r>
              <a:rPr lang="en-US"/>
              <a:t>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</a:t>
            </a:r>
          </a:p>
          <a:p>
            <a:pPr lvl="1"/>
            <a:r>
              <a:rPr lang="en-US"/>
              <a:t>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 lorem ipsum dolor</a:t>
            </a:r>
          </a:p>
        </p:txBody>
      </p:sp>
    </p:spTree>
    <p:extLst>
      <p:ext uri="{BB962C8B-B14F-4D97-AF65-F5344CB8AC3E}">
        <p14:creationId xmlns:p14="http://schemas.microsoft.com/office/powerpoint/2010/main" val="1683049207"/>
      </p:ext>
    </p:extLst>
  </p:cSld>
  <p:clrMapOvr>
    <a:masterClrMapping/>
  </p:clrMapOvr>
  <p:transition>
    <p:fad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209610" y="0"/>
            <a:ext cx="5982390" cy="6858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87B2D435-6763-4273-8B58-EEB8756175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5" y="222583"/>
            <a:ext cx="5555966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Photo layout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1CE2F71-BF91-4E7B-BDE5-A747EFEFF8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1129913"/>
            <a:ext cx="5555965" cy="2573509"/>
          </a:xfrm>
        </p:spPr>
        <p:txBody>
          <a:bodyPr wrap="square" lIns="0" tIns="0" rIns="0" bIns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549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745" b="0" i="0">
                <a:solidFill>
                  <a:srgbClr val="000000"/>
                </a:solidFill>
                <a:latin typeface="+mn-lt"/>
              </a:defRPr>
            </a:lvl1pPr>
            <a:lvl2pPr marL="224097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pt-BR"/>
              <a:t>Subhead Segoe UI 28pt</a:t>
            </a:r>
          </a:p>
          <a:p>
            <a:pPr lvl="0"/>
            <a:r>
              <a:rPr lang="pt-BR"/>
              <a:t>Subhead Segoe UI 28pt</a:t>
            </a:r>
          </a:p>
          <a:p>
            <a:pPr lvl="0"/>
            <a:r>
              <a:rPr lang="pt-BR"/>
              <a:t>Subhead Segoe UI 28pt</a:t>
            </a:r>
          </a:p>
        </p:txBody>
      </p:sp>
    </p:spTree>
    <p:extLst>
      <p:ext uri="{BB962C8B-B14F-4D97-AF65-F5344CB8AC3E}">
        <p14:creationId xmlns:p14="http://schemas.microsoft.com/office/powerpoint/2010/main" val="23463258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26424" y="1179838"/>
            <a:ext cx="3632388" cy="2583813"/>
          </a:xfrm>
          <a:blipFill>
            <a:blip r:embed="rId2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765" b="1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5" hasCustomPrompt="1"/>
          </p:nvPr>
        </p:nvSpPr>
        <p:spPr>
          <a:xfrm>
            <a:off x="4281364" y="1179838"/>
            <a:ext cx="3623050" cy="2583813"/>
          </a:xfrm>
          <a:blipFill>
            <a:blip r:embed="rId3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765" b="1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8126963" y="1179838"/>
            <a:ext cx="3634002" cy="2583814"/>
          </a:xfrm>
          <a:blipFill>
            <a:blip r:embed="rId4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765" b="1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3986232"/>
            <a:ext cx="3630521" cy="114550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. 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3986232"/>
            <a:ext cx="3623050" cy="114550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lang="en-US" sz="1372" b="1" kern="1200" spc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. 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3986232"/>
            <a:ext cx="3630521" cy="114550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lang="en-US" sz="1372" b="1" kern="1200" spc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. 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138D0E-FA08-493B-A3B5-1ED81872A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445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Three column photo layout</a:t>
            </a:r>
          </a:p>
        </p:txBody>
      </p:sp>
    </p:spTree>
    <p:extLst>
      <p:ext uri="{BB962C8B-B14F-4D97-AF65-F5344CB8AC3E}">
        <p14:creationId xmlns:p14="http://schemas.microsoft.com/office/powerpoint/2010/main" val="2452349967"/>
      </p:ext>
    </p:extLst>
  </p:cSld>
  <p:clrMapOvr>
    <a:masterClrMapping/>
  </p:clrMapOvr>
  <p:transition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hoto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26424" y="1179838"/>
            <a:ext cx="3632388" cy="2583813"/>
          </a:xfrm>
          <a:blipFill>
            <a:blip r:embed="rId2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765" b="1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5" hasCustomPrompt="1"/>
          </p:nvPr>
        </p:nvSpPr>
        <p:spPr>
          <a:xfrm>
            <a:off x="4281364" y="1179838"/>
            <a:ext cx="3623050" cy="2583813"/>
          </a:xfrm>
          <a:blipFill>
            <a:blip r:embed="rId3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765" b="1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8126963" y="1179838"/>
            <a:ext cx="3634002" cy="2583814"/>
          </a:xfrm>
          <a:blipFill>
            <a:blip r:embed="rId4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765" b="1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3986233"/>
            <a:ext cx="3630521" cy="1113895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280121" marR="0" indent="-280121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3986233"/>
            <a:ext cx="3623050" cy="1113895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lang="en-US" sz="1372" b="1" kern="1200" spc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80121" marR="0" indent="-280121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3986233"/>
            <a:ext cx="3630521" cy="1113895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lang="en-US" sz="1372" b="1" kern="1200" spc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80121" marR="0" indent="-280121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138D0E-FA08-493B-A3B5-1ED81872A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Three column photo layout (with bullets)</a:t>
            </a:r>
          </a:p>
        </p:txBody>
      </p:sp>
    </p:spTree>
    <p:extLst>
      <p:ext uri="{BB962C8B-B14F-4D97-AF65-F5344CB8AC3E}">
        <p14:creationId xmlns:p14="http://schemas.microsoft.com/office/powerpoint/2010/main" val="3068079688"/>
      </p:ext>
    </p:extLst>
  </p:cSld>
  <p:clrMapOvr>
    <a:masterClrMapping/>
  </p:clrMapOvr>
  <p:transition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425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138D0E-FA08-493B-A3B5-1ED81872A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0715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Six column text layou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536D72C-EFB8-4AA4-B6E9-DA9E980093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51206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C33CBA9-CFB9-46AA-8083-B5F0592E5B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75987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174EC55-6C81-4FBC-A5EF-0BD1F76D45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0768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5E1BEB93-4ED4-4262-A137-E9EF68ABBF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5549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5067E8C-7901-4F06-A33F-B8EFCB540A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50332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004632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6589754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nline Image Placeholder 2">
            <a:extLst>
              <a:ext uri="{FF2B5EF4-FFF2-40B4-BE49-F238E27FC236}">
                <a16:creationId xmlns:a16="http://schemas.microsoft.com/office/drawing/2014/main" id="{562D5679-B66F-A244-9E94-0FFE5F1B6168}"/>
              </a:ext>
            </a:extLst>
          </p:cNvPr>
          <p:cNvSpPr>
            <a:spLocks noGrp="1"/>
          </p:cNvSpPr>
          <p:nvPr>
            <p:ph type="clipArt" sz="quarter" idx="11" hasCustomPrompt="1"/>
          </p:nvPr>
        </p:nvSpPr>
        <p:spPr>
          <a:xfrm>
            <a:off x="5982391" y="1179838"/>
            <a:ext cx="5780073" cy="3756460"/>
          </a:xfrm>
        </p:spPr>
        <p:txBody>
          <a:bodyPr anchor="ctr">
            <a:noAutofit/>
          </a:bodyPr>
          <a:lstStyle>
            <a:lvl1pPr algn="ctr">
              <a:defRPr sz="1765" b="1"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44854"/>
            <a:ext cx="5138175" cy="2573509"/>
          </a:xfrm>
        </p:spPr>
        <p:txBody>
          <a:bodyPr wrap="square" lIns="0" tIns="0" rIns="0" bIns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549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745" b="0" i="0">
                <a:solidFill>
                  <a:srgbClr val="000000"/>
                </a:solidFill>
                <a:latin typeface="+mn-lt"/>
              </a:defRPr>
            </a:lvl1pPr>
            <a:lvl2pPr marL="224097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pt-BR"/>
              <a:t>Subhead Segoe UI 28pt</a:t>
            </a:r>
          </a:p>
          <a:p>
            <a:pPr lvl="0"/>
            <a:r>
              <a:rPr lang="pt-BR"/>
              <a:t>Subhead Segoe UI 28pt</a:t>
            </a:r>
          </a:p>
          <a:p>
            <a:pPr lvl="0"/>
            <a:r>
              <a:rPr lang="pt-BR"/>
              <a:t>Subhead Segoe UI 28pt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60CBD1C-0AFE-4EB9-94D7-943981FE0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Device layout</a:t>
            </a:r>
          </a:p>
        </p:txBody>
      </p:sp>
    </p:spTree>
    <p:extLst>
      <p:ext uri="{BB962C8B-B14F-4D97-AF65-F5344CB8AC3E}">
        <p14:creationId xmlns:p14="http://schemas.microsoft.com/office/powerpoint/2010/main" val="1996355998"/>
      </p:ext>
    </p:extLst>
  </p:cSld>
  <p:clrMapOvr>
    <a:masterClrMapping/>
  </p:clrMapOvr>
  <p:transition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light gra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spc="-147" dirty="0">
                <a:solidFill>
                  <a:schemeClr val="tx1"/>
                </a:solidFill>
                <a:latin typeface="+mj-lt"/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7A4B0E3-3622-4031-99D8-5297F3444C51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078EF51-FF7D-4AF0-A0D8-5E7897E42042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EEE5920-1AA1-47AD-AA2A-1027EA1027F4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77791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b="0" kern="1200" cap="none" spc="-147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lvl="0" algn="l" defTabSz="914367" rtl="0" eaLnBrk="1" latinLnBrk="0" hangingPunct="1">
              <a:lnSpc>
                <a:spcPts val="5490"/>
              </a:lnSpc>
              <a:spcBef>
                <a:spcPct val="0"/>
              </a:spcBef>
              <a:buNone/>
            </a:pPr>
            <a:r>
              <a:rPr lang="en-US"/>
              <a:t>Section 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9360E70-26C3-491B-876D-D6CA248B1D14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1AF0965-A0E8-49A1-B8BF-778086ADF37B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71CC4C2-FC7A-4AE9-9B5E-C49482524E25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99318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>
            <a:extLst>
              <a:ext uri="{FF2B5EF4-FFF2-40B4-BE49-F238E27FC236}">
                <a16:creationId xmlns:a16="http://schemas.microsoft.com/office/drawing/2014/main" id="{51E9DCD3-357B-4AF7-BDD2-18E09F714F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b="0" kern="1200" cap="none" spc="-147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lvl="0" algn="l" defTabSz="914367" rtl="0" eaLnBrk="1" latinLnBrk="0" hangingPunct="1">
              <a:lnSpc>
                <a:spcPts val="5490"/>
              </a:lnSpc>
              <a:spcBef>
                <a:spcPct val="0"/>
              </a:spcBef>
              <a:buNone/>
            </a:pPr>
            <a:r>
              <a:rPr lang="en-US"/>
              <a:t>Section tit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4E73804-9B47-4D7E-8A36-A9DB54B0F2BB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7E555FE-1A25-470F-9400-806E2FDA6E45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tx1"/>
                  </a:solidFill>
                </a:rPr>
                <a:t>© Microsoft Corporation</a:t>
              </a:r>
              <a:endParaRPr lang="en-US" sz="784">
                <a:solidFill>
                  <a:schemeClr val="tx1"/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CADAB30E-A5BE-4BDE-8420-731E8A2CBAB7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solidFill>
                  <a:schemeClr val="tx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22598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6FBA475-1622-4E42-8C0A-6A71410B58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489"/>
          </a:xfrm>
          <a:prstGeom prst="rect">
            <a:avLst/>
          </a:prstGeom>
        </p:spPr>
      </p:pic>
      <p:sp>
        <p:nvSpPr>
          <p:cNvPr id="5" name="Title 35">
            <a:extLst>
              <a:ext uri="{FF2B5EF4-FFF2-40B4-BE49-F238E27FC236}">
                <a16:creationId xmlns:a16="http://schemas.microsoft.com/office/drawing/2014/main" id="{8441881C-06B8-4CD2-ADC6-DFD3519E6A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b="0" kern="1200" cap="none" spc="-147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lvl="0" algn="l" defTabSz="914367" rtl="0" eaLnBrk="1" latinLnBrk="0" hangingPunct="1">
              <a:lnSpc>
                <a:spcPts val="5490"/>
              </a:lnSpc>
              <a:spcBef>
                <a:spcPct val="0"/>
              </a:spcBef>
              <a:buNone/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749164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6678495"/>
      </p:ext>
    </p:extLst>
  </p:cSld>
  <p:clrMapOvr>
    <a:masterClrMapping/>
  </p:clrMapOvr>
  <p:transition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blue">
    <p:bg>
      <p:bgPr>
        <a:solidFill>
          <a:srgbClr val="02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3">
            <a:extLst>
              <a:ext uri="{FF2B5EF4-FFF2-40B4-BE49-F238E27FC236}">
                <a16:creationId xmlns:a16="http://schemas.microsoft.com/office/drawing/2014/main" id="{1688BD8D-D2E4-4DFC-B39C-D55D84362354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28494" y="6318462"/>
            <a:ext cx="4482124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bg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3B5A989-B33D-A043-A074-7F6AD654A9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3200691"/>
            <a:ext cx="3146711" cy="448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2061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dark gray">
    <p:bg>
      <p:bgPr>
        <a:solidFill>
          <a:srgbClr val="3535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3">
            <a:extLst>
              <a:ext uri="{FF2B5EF4-FFF2-40B4-BE49-F238E27FC236}">
                <a16:creationId xmlns:a16="http://schemas.microsoft.com/office/drawing/2014/main" id="{F3523A4C-09FD-49AC-AA6D-1A6E7B7893EE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28494" y="6318462"/>
            <a:ext cx="4482124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bg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84E7C5A-6554-964E-83C8-1AB5178180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3200691"/>
            <a:ext cx="3146711" cy="448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9463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5838650"/>
      </p:ext>
    </p:extLst>
  </p:cSld>
  <p:clrMapOvr>
    <a:masterClrMapping/>
  </p:clrMapOvr>
  <p:transition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9386A6-1B24-F24E-ACF1-EA03F8741407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773475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t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465" y="172144"/>
            <a:ext cx="10515600" cy="89255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2" y="1428466"/>
            <a:ext cx="12191999" cy="542953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9989" rtlCol="0" anchor="ctr"/>
          <a:lstStyle/>
          <a:p>
            <a:pPr>
              <a:defRPr/>
            </a:pPr>
            <a:endParaRPr lang="en-US" sz="7998" kern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1350" y="1510353"/>
            <a:ext cx="11680649" cy="5347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0315303" y="1"/>
            <a:ext cx="1876697" cy="496389"/>
          </a:xfrm>
          <a:solidFill>
            <a:srgbClr val="002050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2000" b="1" kern="0" dirty="0">
                <a:solidFill>
                  <a:schemeClr val="bg1"/>
                </a:solidFill>
                <a:latin typeface="+mn-lt"/>
                <a:ea typeface="Segoe UI" panose="020B0502040204020203" pitchFamily="34" charset="0"/>
              </a:defRPr>
            </a:lvl1pPr>
          </a:lstStyle>
          <a:p>
            <a:pPr marL="0" lvl="0" algn="ctr" defTabSz="930858">
              <a:spcBef>
                <a:spcPts val="612"/>
              </a:spcBef>
            </a:pPr>
            <a:r>
              <a:rPr lang="en-US"/>
              <a:t>Category</a:t>
            </a:r>
          </a:p>
        </p:txBody>
      </p:sp>
    </p:spTree>
    <p:extLst>
      <p:ext uri="{BB962C8B-B14F-4D97-AF65-F5344CB8AC3E}">
        <p14:creationId xmlns:p14="http://schemas.microsoft.com/office/powerpoint/2010/main" val="2573167297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+ 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57201"/>
            <a:ext cx="11277599" cy="594360"/>
          </a:xfrm>
        </p:spPr>
        <p:txBody>
          <a:bodyPr>
            <a:norm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7D5C19BA-6DD0-2341-932F-962FA328D5D7}"/>
              </a:ext>
            </a:extLst>
          </p:cNvPr>
          <p:cNvSpPr>
            <a:spLocks noGrp="1"/>
          </p:cNvSpPr>
          <p:nvPr>
            <p:ph type="subTitle" idx="27"/>
          </p:nvPr>
        </p:nvSpPr>
        <p:spPr>
          <a:xfrm>
            <a:off x="457200" y="1051560"/>
            <a:ext cx="11277600" cy="369353"/>
          </a:xfrm>
        </p:spPr>
        <p:txBody>
          <a:bodyPr/>
          <a:lstStyle>
            <a:lvl1pPr marL="0" indent="0" algn="l">
              <a:buNone/>
              <a:defRPr sz="2400" b="1" i="0" spc="-60" baseline="0"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9386A6-1B24-F24E-ACF1-EA03F8741407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8356897"/>
      </p:ext>
    </p:extLst>
  </p:cSld>
  <p:clrMapOvr>
    <a:masterClrMapping/>
  </p:clrMapOvr>
  <p:transition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9AFD44FB-5EE2-4D3E-9C7F-A0CA74B39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457200"/>
            <a:ext cx="11277599" cy="59436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4400" b="1" i="0">
                <a:solidFill>
                  <a:schemeClr val="tx1"/>
                </a:solidFill>
                <a:latin typeface="Segoe Pro Semibold" charset="0"/>
                <a:ea typeface="Segoe Pro Semibold" charset="0"/>
                <a:cs typeface="Segoe Pro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AC21BB0E-11FF-4849-A437-1A08AE905469}"/>
              </a:ext>
            </a:extLst>
          </p:cNvPr>
          <p:cNvSpPr>
            <a:spLocks noGrp="1"/>
          </p:cNvSpPr>
          <p:nvPr>
            <p:ph type="subTitle" idx="27"/>
          </p:nvPr>
        </p:nvSpPr>
        <p:spPr>
          <a:xfrm>
            <a:off x="457200" y="1051560"/>
            <a:ext cx="11277600" cy="369353"/>
          </a:xfrm>
        </p:spPr>
        <p:txBody>
          <a:bodyPr/>
          <a:lstStyle>
            <a:lvl1pPr marL="0" indent="0" algn="l">
              <a:buNone/>
              <a:defRPr sz="2400" b="1" i="0" spc="-60" baseline="0"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E8743FE-41B9-984E-A69D-ECABFEB0E741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27732AA-D7B1-48A6-8C12-8974C5F0A104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111904" y="1866901"/>
            <a:ext cx="5622896" cy="45140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3475C84-786C-409E-B9CE-2261308DA6EF}"/>
              </a:ext>
            </a:extLst>
          </p:cNvPr>
          <p:cNvSpPr>
            <a:spLocks noGrp="1"/>
          </p:cNvSpPr>
          <p:nvPr>
            <p:ph idx="33"/>
          </p:nvPr>
        </p:nvSpPr>
        <p:spPr>
          <a:xfrm>
            <a:off x="465152" y="1866901"/>
            <a:ext cx="5646753" cy="45140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50056066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12637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0456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4382466"/>
      </p:ext>
    </p:extLst>
  </p:cSld>
  <p:clrMapOvr>
    <a:masterClrMapping/>
  </p:clrMapOvr>
  <p:transition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38F91980-4640-4420-B101-C9BEC37A107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9E379F3-BC61-44ED-8F9B-54F8B85025ED}"/>
              </a:ext>
            </a:extLst>
          </p:cNvPr>
          <p:cNvSpPr txBox="1"/>
          <p:nvPr userDrawn="1"/>
        </p:nvSpPr>
        <p:spPr>
          <a:xfrm>
            <a:off x="586581" y="4218495"/>
            <a:ext cx="185146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>
                <a:gradFill>
                  <a:gsLst>
                    <a:gs pos="80176">
                      <a:schemeClr val="tx1"/>
                    </a:gs>
                    <a:gs pos="68282">
                      <a:schemeClr val="tx1"/>
                    </a:gs>
                  </a:gsLst>
                  <a:lin ang="5400000" scaled="0"/>
                </a:gradFill>
              </a:rPr>
              <a:t>July 18–20, 2018</a:t>
            </a:r>
          </a:p>
          <a:p>
            <a:pPr algn="l"/>
            <a:r>
              <a:rPr lang="en-US" sz="2000">
                <a:gradFill>
                  <a:gsLst>
                    <a:gs pos="80176">
                      <a:schemeClr val="tx1"/>
                    </a:gs>
                    <a:gs pos="68282">
                      <a:schemeClr val="tx1"/>
                    </a:gs>
                  </a:gsLst>
                  <a:lin ang="5400000" scaled="0"/>
                </a:gradFill>
              </a:rPr>
              <a:t>Las Vegas, NV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7ADB113-B00E-4752-81DB-AE332342DD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87" t="16931" r="33333" b="24211"/>
          <a:stretch/>
        </p:blipFill>
        <p:spPr bwMode="black">
          <a:xfrm>
            <a:off x="5098119" y="585788"/>
            <a:ext cx="7093880" cy="627221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EAA312A-DD58-46FD-BCDC-F49B62DD9C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black">
          <a:xfrm>
            <a:off x="584200" y="2322537"/>
            <a:ext cx="3012187" cy="152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2198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sitting in front of a crowd&#10;&#10;Description generated with very high confidence">
            <a:extLst>
              <a:ext uri="{FF2B5EF4-FFF2-40B4-BE49-F238E27FC236}">
                <a16:creationId xmlns:a16="http://schemas.microsoft.com/office/drawing/2014/main" id="{ADC57F9E-658E-424C-9EF1-3587089C95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4583" t="10804" r="39161" b="19692"/>
          <a:stretch/>
        </p:blipFill>
        <p:spPr>
          <a:xfrm>
            <a:off x="5333998" y="0"/>
            <a:ext cx="6858001" cy="6858000"/>
          </a:xfrm>
          <a:prstGeom prst="rect">
            <a:avLst/>
          </a:prstGeom>
        </p:spPr>
      </p:pic>
      <p:pic>
        <p:nvPicPr>
          <p:cNvPr id="10" name="MS logo gray - EMF" descr="Microsoft logo, gray text version">
            <a:extLst>
              <a:ext uri="{FF2B5EF4-FFF2-40B4-BE49-F238E27FC236}">
                <a16:creationId xmlns:a16="http://schemas.microsoft.com/office/drawing/2014/main" id="{B802B7FF-9FAE-427A-B679-4364FE2DB5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731E8BB-BB76-41F9-856D-368DE9900663}"/>
              </a:ext>
            </a:extLst>
          </p:cNvPr>
          <p:cNvSpPr txBox="1"/>
          <p:nvPr userDrawn="1"/>
        </p:nvSpPr>
        <p:spPr>
          <a:xfrm>
            <a:off x="586581" y="4219064"/>
            <a:ext cx="185146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>
                <a:gradFill>
                  <a:gsLst>
                    <a:gs pos="82234">
                      <a:schemeClr val="accent2"/>
                    </a:gs>
                    <a:gs pos="68282">
                      <a:schemeClr val="accent2"/>
                    </a:gs>
                  </a:gsLst>
                  <a:lin ang="5400000" scaled="0"/>
                </a:gradFill>
              </a:rPr>
              <a:t>July 18–20, 2018</a:t>
            </a:r>
          </a:p>
          <a:p>
            <a:pPr algn="l"/>
            <a:r>
              <a:rPr lang="en-US" sz="2000">
                <a:gradFill>
                  <a:gsLst>
                    <a:gs pos="82234">
                      <a:schemeClr val="accent2"/>
                    </a:gs>
                    <a:gs pos="68282">
                      <a:schemeClr val="accent2"/>
                    </a:gs>
                  </a:gsLst>
                  <a:lin ang="5400000" scaled="0"/>
                </a:gradFill>
              </a:rPr>
              <a:t>Las Vegas, NV</a:t>
            </a:r>
          </a:p>
        </p:txBody>
      </p:sp>
      <p:pic>
        <p:nvPicPr>
          <p:cNvPr id="13" name="Picture 12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29E6D70F-8056-4653-91E4-BE7FAAFEBA5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4200" y="2322537"/>
            <a:ext cx="3012188" cy="152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0374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76BBF407-647E-4A0E-932C-4B9EBA6AC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08988" y="589607"/>
            <a:ext cx="3200400" cy="457200"/>
          </a:xfrm>
        </p:spPr>
        <p:txBody>
          <a:bodyPr lIns="0" tIns="0" rIns="0" bIns="0"/>
          <a:lstStyle>
            <a:lvl1pPr marL="0" indent="0" algn="r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/>
              <a:t>Session code</a:t>
            </a:r>
          </a:p>
        </p:txBody>
      </p:sp>
      <p:pic>
        <p:nvPicPr>
          <p:cNvPr id="8" name="MS logo white - EMF" descr="Microsoft logo white text version">
            <a:extLst>
              <a:ext uri="{FF2B5EF4-FFF2-40B4-BE49-F238E27FC236}">
                <a16:creationId xmlns:a16="http://schemas.microsoft.com/office/drawing/2014/main" id="{F4DDC873-B78F-4A52-9091-6AB1225F43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10" name="TextBox 7">
            <a:extLst>
              <a:ext uri="{FF2B5EF4-FFF2-40B4-BE49-F238E27FC236}">
                <a16:creationId xmlns:a16="http://schemas.microsoft.com/office/drawing/2014/main" id="{159B70CA-162C-4108-ACA6-CEEA047F6AE6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3539356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4F9C77CE-6642-4EB3-964C-4757236312BC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42404341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F799E92C-66C0-42AC-B537-87624873AE0F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8748409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443FF8C8-7F5A-4421-9447-1B05BF103B20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84401514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7796111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C7A7BB0F-782C-4D9F-9090-0EA61980C6A3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743672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19AF4754-F11E-4E8F-BBFA-9E489F861B0D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0328192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A4A6C387-0A1F-4F01-A189-777EA61C60EC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525203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2616517D-D5CD-4ABF-BB07-27B705B1ED45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9239939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0FA53395-9C25-4CB2-B341-C4A926CEFC07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8871643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6" name="TextBox 7">
            <a:extLst>
              <a:ext uri="{FF2B5EF4-FFF2-40B4-BE49-F238E27FC236}">
                <a16:creationId xmlns:a16="http://schemas.microsoft.com/office/drawing/2014/main" id="{E89C1FB2-6B75-46E5-9AA1-5BE3945FCA2E}"/>
              </a:ext>
            </a:extLst>
          </p:cNvPr>
          <p:cNvSpPr txBox="1"/>
          <p:nvPr userDrawn="1"/>
        </p:nvSpPr>
        <p:spPr bwMode="black">
          <a:xfrm>
            <a:off x="96520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9281206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FE5F5BCB-2E29-4CD6-911A-DE5C1CED1D5F}"/>
              </a:ext>
            </a:extLst>
          </p:cNvPr>
          <p:cNvSpPr txBox="1"/>
          <p:nvPr userDrawn="1"/>
        </p:nvSpPr>
        <p:spPr bwMode="black">
          <a:xfrm>
            <a:off x="96520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5511213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CE4895D9-8662-4A4F-98D4-0B8BC8B959B8}"/>
              </a:ext>
            </a:extLst>
          </p:cNvPr>
          <p:cNvSpPr txBox="1"/>
          <p:nvPr userDrawn="1"/>
        </p:nvSpPr>
        <p:spPr bwMode="black">
          <a:xfrm>
            <a:off x="96520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41198462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12648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12648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557066C-5133-4E22-AE58-F2101DA24D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87" t="16931" r="33333" b="24211"/>
          <a:stretch/>
        </p:blipFill>
        <p:spPr bwMode="invGray">
          <a:xfrm>
            <a:off x="5098119" y="585788"/>
            <a:ext cx="7093880" cy="6272211"/>
          </a:xfrm>
          <a:prstGeom prst="rect">
            <a:avLst/>
          </a:prstGeom>
        </p:spPr>
      </p:pic>
      <p:sp>
        <p:nvSpPr>
          <p:cNvPr id="6" name="TextBox 7">
            <a:extLst>
              <a:ext uri="{FF2B5EF4-FFF2-40B4-BE49-F238E27FC236}">
                <a16:creationId xmlns:a16="http://schemas.microsoft.com/office/drawing/2014/main" id="{64E1D9FA-9E2F-48CB-9D5D-F452A17FA04F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655465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126480" cy="498598"/>
          </a:xfrm>
          <a:noFill/>
        </p:spPr>
        <p:txBody>
          <a:bodyPr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AC853EF-249B-4DEC-B679-038CCEA0B9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87" t="16931" r="33333" b="24211"/>
          <a:stretch/>
        </p:blipFill>
        <p:spPr bwMode="invGray">
          <a:xfrm>
            <a:off x="5098119" y="585788"/>
            <a:ext cx="7093880" cy="6272211"/>
          </a:xfrm>
          <a:prstGeom prst="rect">
            <a:avLst/>
          </a:prstGeom>
        </p:spPr>
      </p:pic>
      <p:sp>
        <p:nvSpPr>
          <p:cNvPr id="4" name="TextBox 7">
            <a:extLst>
              <a:ext uri="{FF2B5EF4-FFF2-40B4-BE49-F238E27FC236}">
                <a16:creationId xmlns:a16="http://schemas.microsoft.com/office/drawing/2014/main" id="{E2C2C8D7-61A8-4984-AFD4-35DE8D9F804B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42745507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97080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32722489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9" dur="9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8" grpId="2"/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8421240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1397" cy="498598"/>
          </a:xfrm>
          <a:noFill/>
        </p:spPr>
        <p:txBody>
          <a:bodyPr wrap="square"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06A51A04-EF84-4B1B-9E21-8F15035DF979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4961329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54097" cy="498598"/>
          </a:xfrm>
          <a:noFill/>
        </p:spPr>
        <p:txBody>
          <a:bodyPr wrap="square"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5951E567-86DB-49D9-87EB-08DE2B1BC6D1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470257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>
            <a:extLst>
              <a:ext uri="{FF2B5EF4-FFF2-40B4-BE49-F238E27FC236}">
                <a16:creationId xmlns:a16="http://schemas.microsoft.com/office/drawing/2014/main" id="{2EF3E351-722F-45A0-BD85-698E055B98F1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54145746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>
            <a:extLst>
              <a:ext uri="{FF2B5EF4-FFF2-40B4-BE49-F238E27FC236}">
                <a16:creationId xmlns:a16="http://schemas.microsoft.com/office/drawing/2014/main" id="{2C852AFA-BC02-44DE-94C3-845604AD057E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3894933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nfidentiality slid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D07666-5C5E-4C40-8C68-86D1F3CAB0C5}"/>
              </a:ext>
            </a:extLst>
          </p:cNvPr>
          <p:cNvSpPr txBox="1"/>
          <p:nvPr userDrawn="1"/>
        </p:nvSpPr>
        <p:spPr>
          <a:xfrm>
            <a:off x="584200" y="4173080"/>
            <a:ext cx="11022584" cy="2095958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icrosoft Ready content is </a:t>
            </a:r>
            <a:r>
              <a:rPr lang="en-US" sz="2000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icrosoft Confidential – Internal only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st Microsoft Ready content to any blogs or external websites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ake photos or video of sessions or slides throughout the Microsoft Ready event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tent will be available to internal audiences on-demand post-event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A6B1A30E-72AA-4A8F-A97F-FD4B4989FC97}"/>
              </a:ext>
            </a:extLst>
          </p:cNvPr>
          <p:cNvSpPr/>
          <p:nvPr userDrawn="1"/>
        </p:nvSpPr>
        <p:spPr bwMode="gray">
          <a:xfrm>
            <a:off x="2697102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86F400F5-9FA0-4CE6-B207-5F2FF50C7927}"/>
              </a:ext>
            </a:extLst>
          </p:cNvPr>
          <p:cNvSpPr/>
          <p:nvPr userDrawn="1"/>
        </p:nvSpPr>
        <p:spPr bwMode="gray">
          <a:xfrm>
            <a:off x="5318069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R="0" lvl="0" indent="0" algn="ctr" defTabSz="9321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BA797159-0B2F-4995-81D8-EBFFD05AB617}"/>
              </a:ext>
            </a:extLst>
          </p:cNvPr>
          <p:cNvGrpSpPr/>
          <p:nvPr userDrawn="1"/>
        </p:nvGrpSpPr>
        <p:grpSpPr bwMode="gray">
          <a:xfrm flipH="1">
            <a:off x="5901486" y="2178437"/>
            <a:ext cx="436044" cy="827404"/>
            <a:chOff x="5200650" y="1722438"/>
            <a:chExt cx="1797050" cy="3409950"/>
          </a:xfrm>
        </p:grpSpPr>
        <p:sp>
          <p:nvSpPr>
            <p:cNvPr id="105" name="Freeform 26">
              <a:extLst>
                <a:ext uri="{FF2B5EF4-FFF2-40B4-BE49-F238E27FC236}">
                  <a16:creationId xmlns:a16="http://schemas.microsoft.com/office/drawing/2014/main" id="{D5EE552A-CFE9-4D35-BDE3-A939AA559C2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200650" y="1722438"/>
              <a:ext cx="1797050" cy="3409950"/>
            </a:xfrm>
            <a:custGeom>
              <a:avLst/>
              <a:gdLst>
                <a:gd name="T0" fmla="*/ 497 w 543"/>
                <a:gd name="T1" fmla="*/ 0 h 1030"/>
                <a:gd name="T2" fmla="*/ 46 w 543"/>
                <a:gd name="T3" fmla="*/ 0 h 1030"/>
                <a:gd name="T4" fmla="*/ 0 w 543"/>
                <a:gd name="T5" fmla="*/ 46 h 1030"/>
                <a:gd name="T6" fmla="*/ 0 w 543"/>
                <a:gd name="T7" fmla="*/ 983 h 1030"/>
                <a:gd name="T8" fmla="*/ 46 w 543"/>
                <a:gd name="T9" fmla="*/ 1030 h 1030"/>
                <a:gd name="T10" fmla="*/ 497 w 543"/>
                <a:gd name="T11" fmla="*/ 1030 h 1030"/>
                <a:gd name="T12" fmla="*/ 543 w 543"/>
                <a:gd name="T13" fmla="*/ 983 h 1030"/>
                <a:gd name="T14" fmla="*/ 543 w 543"/>
                <a:gd name="T15" fmla="*/ 46 h 1030"/>
                <a:gd name="T16" fmla="*/ 497 w 543"/>
                <a:gd name="T17" fmla="*/ 0 h 1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3" h="1030">
                  <a:moveTo>
                    <a:pt x="497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21" y="0"/>
                    <a:pt x="0" y="21"/>
                    <a:pt x="0" y="46"/>
                  </a:cubicBezTo>
                  <a:cubicBezTo>
                    <a:pt x="0" y="983"/>
                    <a:pt x="0" y="983"/>
                    <a:pt x="0" y="983"/>
                  </a:cubicBezTo>
                  <a:cubicBezTo>
                    <a:pt x="0" y="1009"/>
                    <a:pt x="21" y="1030"/>
                    <a:pt x="46" y="1030"/>
                  </a:cubicBezTo>
                  <a:cubicBezTo>
                    <a:pt x="497" y="1030"/>
                    <a:pt x="497" y="1030"/>
                    <a:pt x="497" y="1030"/>
                  </a:cubicBezTo>
                  <a:cubicBezTo>
                    <a:pt x="522" y="1030"/>
                    <a:pt x="543" y="1009"/>
                    <a:pt x="543" y="983"/>
                  </a:cubicBezTo>
                  <a:cubicBezTo>
                    <a:pt x="543" y="46"/>
                    <a:pt x="543" y="46"/>
                    <a:pt x="543" y="46"/>
                  </a:cubicBezTo>
                  <a:cubicBezTo>
                    <a:pt x="543" y="21"/>
                    <a:pt x="522" y="0"/>
                    <a:pt x="497" y="0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6" name="Freeform 27">
              <a:extLst>
                <a:ext uri="{FF2B5EF4-FFF2-40B4-BE49-F238E27FC236}">
                  <a16:creationId xmlns:a16="http://schemas.microsoft.com/office/drawing/2014/main" id="{62561F91-9D8C-4635-B806-AE2D1119614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310188" y="2262188"/>
              <a:ext cx="1577975" cy="2433638"/>
            </a:xfrm>
            <a:custGeom>
              <a:avLst/>
              <a:gdLst>
                <a:gd name="T0" fmla="*/ 0 w 994"/>
                <a:gd name="T1" fmla="*/ 1533 h 1533"/>
                <a:gd name="T2" fmla="*/ 994 w 994"/>
                <a:gd name="T3" fmla="*/ 1533 h 1533"/>
                <a:gd name="T4" fmla="*/ 994 w 994"/>
                <a:gd name="T5" fmla="*/ 62 h 1533"/>
                <a:gd name="T6" fmla="*/ 498 w 994"/>
                <a:gd name="T7" fmla="*/ 0 h 1533"/>
                <a:gd name="T8" fmla="*/ 0 w 994"/>
                <a:gd name="T9" fmla="*/ 62 h 1533"/>
                <a:gd name="T10" fmla="*/ 0 w 994"/>
                <a:gd name="T11" fmla="*/ 1533 h 1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4" h="1533">
                  <a:moveTo>
                    <a:pt x="0" y="1533"/>
                  </a:moveTo>
                  <a:lnTo>
                    <a:pt x="994" y="1533"/>
                  </a:lnTo>
                  <a:lnTo>
                    <a:pt x="994" y="62"/>
                  </a:lnTo>
                  <a:lnTo>
                    <a:pt x="498" y="0"/>
                  </a:lnTo>
                  <a:lnTo>
                    <a:pt x="0" y="62"/>
                  </a:lnTo>
                  <a:lnTo>
                    <a:pt x="0" y="1533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7" name="Rectangle 28">
              <a:extLst>
                <a:ext uri="{FF2B5EF4-FFF2-40B4-BE49-F238E27FC236}">
                  <a16:creationId xmlns:a16="http://schemas.microsoft.com/office/drawing/2014/main" id="{71C38A4E-A7CA-4FC4-B76A-394814BBAD3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310188" y="2006601"/>
              <a:ext cx="1577975" cy="3540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08" name="Rectangle 29">
              <a:extLst>
                <a:ext uri="{FF2B5EF4-FFF2-40B4-BE49-F238E27FC236}">
                  <a16:creationId xmlns:a16="http://schemas.microsoft.com/office/drawing/2014/main" id="{0EB3CFB9-1B4F-40C4-8527-07696A24C42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942013" y="3522663"/>
              <a:ext cx="804863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9" name="Rectangle 30">
              <a:extLst>
                <a:ext uri="{FF2B5EF4-FFF2-40B4-BE49-F238E27FC236}">
                  <a16:creationId xmlns:a16="http://schemas.microsoft.com/office/drawing/2014/main" id="{A6E51830-661E-42FF-A82A-D30745B76D1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3689351"/>
              <a:ext cx="1327150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0" name="Rectangle 31">
              <a:extLst>
                <a:ext uri="{FF2B5EF4-FFF2-40B4-BE49-F238E27FC236}">
                  <a16:creationId xmlns:a16="http://schemas.microsoft.com/office/drawing/2014/main" id="{95201EB4-D463-4472-9390-C70DD9F565C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3851276"/>
              <a:ext cx="1327150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1" name="Rectangle 32">
              <a:extLst>
                <a:ext uri="{FF2B5EF4-FFF2-40B4-BE49-F238E27FC236}">
                  <a16:creationId xmlns:a16="http://schemas.microsoft.com/office/drawing/2014/main" id="{B130CDDD-D0C4-4E72-B76C-DB984523826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4013201"/>
              <a:ext cx="730250" cy="4286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Rectangle 33">
              <a:extLst>
                <a:ext uri="{FF2B5EF4-FFF2-40B4-BE49-F238E27FC236}">
                  <a16:creationId xmlns:a16="http://schemas.microsoft.com/office/drawing/2014/main" id="{65FB6058-8B32-4371-95BE-A2B310C6B8F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4178301"/>
              <a:ext cx="1327150" cy="365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3" name="Rectangle 34">
              <a:extLst>
                <a:ext uri="{FF2B5EF4-FFF2-40B4-BE49-F238E27FC236}">
                  <a16:creationId xmlns:a16="http://schemas.microsoft.com/office/drawing/2014/main" id="{FB2303C7-0661-4CF0-B491-D2E9D47EE15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149975" y="4341813"/>
              <a:ext cx="596900" cy="365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4" name="Rectangle 35">
              <a:extLst>
                <a:ext uri="{FF2B5EF4-FFF2-40B4-BE49-F238E27FC236}">
                  <a16:creationId xmlns:a16="http://schemas.microsoft.com/office/drawing/2014/main" id="{C3FA6748-9371-4617-9A5E-AEF6112AB5D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932488" y="2509838"/>
              <a:ext cx="836613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5" name="Rectangle 36">
              <a:extLst>
                <a:ext uri="{FF2B5EF4-FFF2-40B4-BE49-F238E27FC236}">
                  <a16:creationId xmlns:a16="http://schemas.microsoft.com/office/drawing/2014/main" id="{22819134-DC28-4E40-9A2C-B052D6FE6E7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29250" y="2509838"/>
              <a:ext cx="171450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6" name="Rectangle 37">
              <a:extLst>
                <a:ext uri="{FF2B5EF4-FFF2-40B4-BE49-F238E27FC236}">
                  <a16:creationId xmlns:a16="http://schemas.microsoft.com/office/drawing/2014/main" id="{A8AB1BAE-A549-4C2D-90AE-29E7A84F30C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680075" y="2509838"/>
              <a:ext cx="173038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7" name="Rectangle 38">
              <a:extLst>
                <a:ext uri="{FF2B5EF4-FFF2-40B4-BE49-F238E27FC236}">
                  <a16:creationId xmlns:a16="http://schemas.microsoft.com/office/drawing/2014/main" id="{6BB21AAD-BEBD-464D-9425-DFCE1A81021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125663"/>
              <a:ext cx="152400" cy="142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Rectangle 39">
              <a:extLst>
                <a:ext uri="{FF2B5EF4-FFF2-40B4-BE49-F238E27FC236}">
                  <a16:creationId xmlns:a16="http://schemas.microsoft.com/office/drawing/2014/main" id="{82C133A5-90DA-4452-B1C2-96A28D1B3B2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168526"/>
              <a:ext cx="152400" cy="142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40">
              <a:extLst>
                <a:ext uri="{FF2B5EF4-FFF2-40B4-BE49-F238E27FC236}">
                  <a16:creationId xmlns:a16="http://schemas.microsoft.com/office/drawing/2014/main" id="{9EC959C0-2ED1-429D-9343-6B03D72EC2D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216151"/>
              <a:ext cx="152400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Rectangle 41">
              <a:extLst>
                <a:ext uri="{FF2B5EF4-FFF2-40B4-BE49-F238E27FC236}">
                  <a16:creationId xmlns:a16="http://schemas.microsoft.com/office/drawing/2014/main" id="{27EB350B-78EC-4CE4-9803-6981B8ABF25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027738" y="4837113"/>
              <a:ext cx="142875" cy="14605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21" name="Freeform 42">
              <a:extLst>
                <a:ext uri="{FF2B5EF4-FFF2-40B4-BE49-F238E27FC236}">
                  <a16:creationId xmlns:a16="http://schemas.microsoft.com/office/drawing/2014/main" id="{E19CD1BB-BAEF-4D84-8870-955840A2D73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783263" y="1841501"/>
              <a:ext cx="631825" cy="36513"/>
            </a:xfrm>
            <a:custGeom>
              <a:avLst/>
              <a:gdLst>
                <a:gd name="T0" fmla="*/ 185 w 191"/>
                <a:gd name="T1" fmla="*/ 11 h 11"/>
                <a:gd name="T2" fmla="*/ 6 w 191"/>
                <a:gd name="T3" fmla="*/ 11 h 11"/>
                <a:gd name="T4" fmla="*/ 0 w 191"/>
                <a:gd name="T5" fmla="*/ 6 h 11"/>
                <a:gd name="T6" fmla="*/ 6 w 191"/>
                <a:gd name="T7" fmla="*/ 0 h 11"/>
                <a:gd name="T8" fmla="*/ 185 w 191"/>
                <a:gd name="T9" fmla="*/ 0 h 11"/>
                <a:gd name="T10" fmla="*/ 191 w 191"/>
                <a:gd name="T11" fmla="*/ 6 h 11"/>
                <a:gd name="T12" fmla="*/ 185 w 191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11">
                  <a:moveTo>
                    <a:pt x="185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9" y="0"/>
                    <a:pt x="191" y="2"/>
                    <a:pt x="191" y="6"/>
                  </a:cubicBezTo>
                  <a:cubicBezTo>
                    <a:pt x="191" y="9"/>
                    <a:pt x="189" y="11"/>
                    <a:pt x="185" y="11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22" name="Rectangle 43">
              <a:extLst>
                <a:ext uri="{FF2B5EF4-FFF2-40B4-BE49-F238E27FC236}">
                  <a16:creationId xmlns:a16="http://schemas.microsoft.com/office/drawing/2014/main" id="{AB3A5491-F398-47CB-BBBC-35E96F4E414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29250" y="2722563"/>
              <a:ext cx="1339850" cy="62865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</p:grpSp>
      <p:sp>
        <p:nvSpPr>
          <p:cNvPr id="149" name="Oval 148">
            <a:extLst>
              <a:ext uri="{FF2B5EF4-FFF2-40B4-BE49-F238E27FC236}">
                <a16:creationId xmlns:a16="http://schemas.microsoft.com/office/drawing/2014/main" id="{88B05F2C-2F66-43AA-A9E2-803B1F843606}"/>
              </a:ext>
            </a:extLst>
          </p:cNvPr>
          <p:cNvSpPr/>
          <p:nvPr userDrawn="1"/>
        </p:nvSpPr>
        <p:spPr bwMode="gray">
          <a:xfrm>
            <a:off x="7892021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R="0" lvl="0" indent="0" algn="ctr" defTabSz="9321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E88D9ECD-A4C6-4CFD-BE83-83D944C0F97B}"/>
              </a:ext>
            </a:extLst>
          </p:cNvPr>
          <p:cNvGrpSpPr/>
          <p:nvPr userDrawn="1"/>
        </p:nvGrpSpPr>
        <p:grpSpPr bwMode="gray">
          <a:xfrm>
            <a:off x="8118306" y="2286842"/>
            <a:ext cx="1150309" cy="610594"/>
            <a:chOff x="6151563" y="1584325"/>
            <a:chExt cx="4276725" cy="2270126"/>
          </a:xfrm>
        </p:grpSpPr>
        <p:sp>
          <p:nvSpPr>
            <p:cNvPr id="129" name="Rectangle 47">
              <a:extLst>
                <a:ext uri="{FF2B5EF4-FFF2-40B4-BE49-F238E27FC236}">
                  <a16:creationId xmlns:a16="http://schemas.microsoft.com/office/drawing/2014/main" id="{26C055B8-93FF-46DA-B415-D8D54497176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30988" y="1584325"/>
              <a:ext cx="3317875" cy="208438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30" name="Rectangle 48">
              <a:extLst>
                <a:ext uri="{FF2B5EF4-FFF2-40B4-BE49-F238E27FC236}">
                  <a16:creationId xmlns:a16="http://schemas.microsoft.com/office/drawing/2014/main" id="{CFE4BDC0-DE0F-4728-875B-177D4395AAE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848476" y="1785938"/>
              <a:ext cx="2879725" cy="17637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49">
              <a:extLst>
                <a:ext uri="{FF2B5EF4-FFF2-40B4-BE49-F238E27FC236}">
                  <a16:creationId xmlns:a16="http://schemas.microsoft.com/office/drawing/2014/main" id="{DF9925D4-DE10-40F0-8BA3-16B00AE6C44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151563" y="3668713"/>
              <a:ext cx="4276725" cy="185738"/>
            </a:xfrm>
            <a:custGeom>
              <a:avLst/>
              <a:gdLst>
                <a:gd name="T0" fmla="*/ 1265 w 1295"/>
                <a:gd name="T1" fmla="*/ 56 h 56"/>
                <a:gd name="T2" fmla="*/ 29 w 1295"/>
                <a:gd name="T3" fmla="*/ 56 h 56"/>
                <a:gd name="T4" fmla="*/ 0 w 1295"/>
                <a:gd name="T5" fmla="*/ 26 h 56"/>
                <a:gd name="T6" fmla="*/ 0 w 1295"/>
                <a:gd name="T7" fmla="*/ 0 h 56"/>
                <a:gd name="T8" fmla="*/ 1295 w 1295"/>
                <a:gd name="T9" fmla="*/ 0 h 56"/>
                <a:gd name="T10" fmla="*/ 1295 w 1295"/>
                <a:gd name="T11" fmla="*/ 26 h 56"/>
                <a:gd name="T12" fmla="*/ 1265 w 1295"/>
                <a:gd name="T1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5" h="56">
                  <a:moveTo>
                    <a:pt x="1265" y="56"/>
                  </a:moveTo>
                  <a:cubicBezTo>
                    <a:pt x="29" y="56"/>
                    <a:pt x="29" y="56"/>
                    <a:pt x="29" y="56"/>
                  </a:cubicBezTo>
                  <a:cubicBezTo>
                    <a:pt x="13" y="56"/>
                    <a:pt x="0" y="43"/>
                    <a:pt x="0" y="2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95" y="0"/>
                    <a:pt x="1295" y="0"/>
                    <a:pt x="1295" y="0"/>
                  </a:cubicBezTo>
                  <a:cubicBezTo>
                    <a:pt x="1295" y="26"/>
                    <a:pt x="1295" y="26"/>
                    <a:pt x="1295" y="26"/>
                  </a:cubicBezTo>
                  <a:cubicBezTo>
                    <a:pt x="1295" y="43"/>
                    <a:pt x="1282" y="56"/>
                    <a:pt x="1265" y="56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2" name="Rectangle 50">
              <a:extLst>
                <a:ext uri="{FF2B5EF4-FFF2-40B4-BE49-F238E27FC236}">
                  <a16:creationId xmlns:a16="http://schemas.microsoft.com/office/drawing/2014/main" id="{E95E9909-20A7-4A13-8FBC-BB76A4AAD52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353301" y="2098675"/>
              <a:ext cx="865188" cy="3302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3" name="Rectangle 51">
              <a:extLst>
                <a:ext uri="{FF2B5EF4-FFF2-40B4-BE49-F238E27FC236}">
                  <a16:creationId xmlns:a16="http://schemas.microsoft.com/office/drawing/2014/main" id="{2FD4C439-4658-45FA-AB12-5252FC20915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098675"/>
              <a:ext cx="266700" cy="330200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4" name="Rectangle 52">
              <a:extLst>
                <a:ext uri="{FF2B5EF4-FFF2-40B4-BE49-F238E27FC236}">
                  <a16:creationId xmlns:a16="http://schemas.microsoft.com/office/drawing/2014/main" id="{D9CFF0E1-0AE6-43B7-BC45-CB587EB544A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559050"/>
              <a:ext cx="1131888" cy="1016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5" name="Rectangle 53">
              <a:extLst>
                <a:ext uri="{FF2B5EF4-FFF2-40B4-BE49-F238E27FC236}">
                  <a16:creationId xmlns:a16="http://schemas.microsoft.com/office/drawing/2014/main" id="{E57A2468-B3CA-4D73-B693-76A85B0F761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744788"/>
              <a:ext cx="1131888" cy="1016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6" name="Rectangle 54">
              <a:extLst>
                <a:ext uri="{FF2B5EF4-FFF2-40B4-BE49-F238E27FC236}">
                  <a16:creationId xmlns:a16="http://schemas.microsoft.com/office/drawing/2014/main" id="{590B34AA-176F-4A9B-8492-C9062CEEB0A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925763"/>
              <a:ext cx="1131888" cy="10636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7" name="Rectangle 55">
              <a:extLst>
                <a:ext uri="{FF2B5EF4-FFF2-40B4-BE49-F238E27FC236}">
                  <a16:creationId xmlns:a16="http://schemas.microsoft.com/office/drawing/2014/main" id="{B478D54E-B6DE-4ACF-B271-59436F9D78D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3111500"/>
              <a:ext cx="1131888" cy="1031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8" name="Rectangle 56">
              <a:extLst>
                <a:ext uri="{FF2B5EF4-FFF2-40B4-BE49-F238E27FC236}">
                  <a16:creationId xmlns:a16="http://schemas.microsoft.com/office/drawing/2014/main" id="{10E94144-47B6-4CC4-8ACA-8555C206329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3297238"/>
              <a:ext cx="1131888" cy="1031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9" name="Rectangle 57">
              <a:extLst>
                <a:ext uri="{FF2B5EF4-FFF2-40B4-BE49-F238E27FC236}">
                  <a16:creationId xmlns:a16="http://schemas.microsoft.com/office/drawing/2014/main" id="{884B7082-B3DA-41C6-888E-340C61D061D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2098675"/>
              <a:ext cx="314325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Rectangle 58">
              <a:extLst>
                <a:ext uri="{FF2B5EF4-FFF2-40B4-BE49-F238E27FC236}">
                  <a16:creationId xmlns:a16="http://schemas.microsoft.com/office/drawing/2014/main" id="{EAB98FDB-F070-4FD8-8674-449941060C9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2098675"/>
              <a:ext cx="312738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Rectangle 59">
              <a:extLst>
                <a:ext uri="{FF2B5EF4-FFF2-40B4-BE49-F238E27FC236}">
                  <a16:creationId xmlns:a16="http://schemas.microsoft.com/office/drawing/2014/main" id="{B045539F-5CE5-47A9-A17E-1643D4CD9B2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2098675"/>
              <a:ext cx="314325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Rectangle 60">
              <a:extLst>
                <a:ext uri="{FF2B5EF4-FFF2-40B4-BE49-F238E27FC236}">
                  <a16:creationId xmlns:a16="http://schemas.microsoft.com/office/drawing/2014/main" id="{C0C7BB4D-3B48-4D4F-B494-4C1EE0FD7C1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2581275"/>
              <a:ext cx="314325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Rectangle 61">
              <a:extLst>
                <a:ext uri="{FF2B5EF4-FFF2-40B4-BE49-F238E27FC236}">
                  <a16:creationId xmlns:a16="http://schemas.microsoft.com/office/drawing/2014/main" id="{0BFA0E04-B61F-491E-8CEE-28213247876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2581275"/>
              <a:ext cx="312738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Rectangle 62">
              <a:extLst>
                <a:ext uri="{FF2B5EF4-FFF2-40B4-BE49-F238E27FC236}">
                  <a16:creationId xmlns:a16="http://schemas.microsoft.com/office/drawing/2014/main" id="{AFB42A0A-BD91-43E7-988D-573EEC53456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2581275"/>
              <a:ext cx="314325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Rectangle 63">
              <a:extLst>
                <a:ext uri="{FF2B5EF4-FFF2-40B4-BE49-F238E27FC236}">
                  <a16:creationId xmlns:a16="http://schemas.microsoft.com/office/drawing/2014/main" id="{BA15039E-DBE6-4F6E-80B1-70B510D54B0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3062288"/>
              <a:ext cx="314325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Rectangle 64">
              <a:extLst>
                <a:ext uri="{FF2B5EF4-FFF2-40B4-BE49-F238E27FC236}">
                  <a16:creationId xmlns:a16="http://schemas.microsoft.com/office/drawing/2014/main" id="{265A4B65-72CE-4B68-9D58-5199411F4C9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3062288"/>
              <a:ext cx="312738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Rectangle 65">
              <a:extLst>
                <a:ext uri="{FF2B5EF4-FFF2-40B4-BE49-F238E27FC236}">
                  <a16:creationId xmlns:a16="http://schemas.microsoft.com/office/drawing/2014/main" id="{9602881A-C071-4CA3-9947-55E1E8A8C5B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3062288"/>
              <a:ext cx="314325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05" name="Multiplication Sign 204">
            <a:extLst>
              <a:ext uri="{FF2B5EF4-FFF2-40B4-BE49-F238E27FC236}">
                <a16:creationId xmlns:a16="http://schemas.microsoft.com/office/drawing/2014/main" id="{464A0F58-5D65-499E-8280-34A9DFF27F4A}"/>
              </a:ext>
            </a:extLst>
          </p:cNvPr>
          <p:cNvSpPr/>
          <p:nvPr userDrawn="1"/>
        </p:nvSpPr>
        <p:spPr bwMode="ltGray">
          <a:xfrm>
            <a:off x="3643244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1" name="Multiplication Sign 210">
            <a:extLst>
              <a:ext uri="{FF2B5EF4-FFF2-40B4-BE49-F238E27FC236}">
                <a16:creationId xmlns:a16="http://schemas.microsoft.com/office/drawing/2014/main" id="{69338860-60E4-44A3-B6C1-0BC1315BA942}"/>
              </a:ext>
            </a:extLst>
          </p:cNvPr>
          <p:cNvSpPr/>
          <p:nvPr userDrawn="1"/>
        </p:nvSpPr>
        <p:spPr bwMode="ltGray">
          <a:xfrm>
            <a:off x="6271892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4" name="Multiplication Sign 213">
            <a:extLst>
              <a:ext uri="{FF2B5EF4-FFF2-40B4-BE49-F238E27FC236}">
                <a16:creationId xmlns:a16="http://schemas.microsoft.com/office/drawing/2014/main" id="{DFD379AB-2220-4E7F-85FE-EBBE910DB5C2}"/>
              </a:ext>
            </a:extLst>
          </p:cNvPr>
          <p:cNvSpPr/>
          <p:nvPr userDrawn="1"/>
        </p:nvSpPr>
        <p:spPr bwMode="ltGray">
          <a:xfrm>
            <a:off x="8826629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971C9C6-D4A9-4DFA-9E2D-9E501DB092DC}"/>
              </a:ext>
            </a:extLst>
          </p:cNvPr>
          <p:cNvGrpSpPr/>
          <p:nvPr userDrawn="1"/>
        </p:nvGrpSpPr>
        <p:grpSpPr bwMode="gray">
          <a:xfrm>
            <a:off x="3132278" y="2298246"/>
            <a:ext cx="718204" cy="544549"/>
            <a:chOff x="3132278" y="2298246"/>
            <a:chExt cx="718204" cy="544549"/>
          </a:xfrm>
        </p:grpSpPr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19123BC5-D4FA-46FE-A2AC-4D6533EA9AB2}"/>
                </a:ext>
              </a:extLst>
            </p:cNvPr>
            <p:cNvSpPr/>
            <p:nvPr/>
          </p:nvSpPr>
          <p:spPr bwMode="gray">
            <a:xfrm>
              <a:off x="3194451" y="2298246"/>
              <a:ext cx="107195" cy="171511"/>
            </a:xfrm>
            <a:custGeom>
              <a:avLst/>
              <a:gdLst/>
              <a:ahLst/>
              <a:cxnLst/>
              <a:rect l="0" t="0" r="0" b="0"/>
              <a:pathLst>
                <a:path w="95250" h="152400">
                  <a:moveTo>
                    <a:pt x="81439" y="147161"/>
                  </a:moveTo>
                  <a:lnTo>
                    <a:pt x="20479" y="147161"/>
                  </a:lnTo>
                  <a:cubicBezTo>
                    <a:pt x="13811" y="147161"/>
                    <a:pt x="7144" y="141446"/>
                    <a:pt x="7144" y="133826"/>
                  </a:cubicBezTo>
                  <a:lnTo>
                    <a:pt x="7144" y="19526"/>
                  </a:lnTo>
                  <a:cubicBezTo>
                    <a:pt x="7144" y="12859"/>
                    <a:pt x="12859" y="7144"/>
                    <a:pt x="20479" y="7144"/>
                  </a:cubicBezTo>
                  <a:lnTo>
                    <a:pt x="81439" y="7144"/>
                  </a:lnTo>
                  <a:cubicBezTo>
                    <a:pt x="88106" y="7144"/>
                    <a:pt x="94774" y="12859"/>
                    <a:pt x="94774" y="20479"/>
                  </a:cubicBezTo>
                  <a:lnTo>
                    <a:pt x="94774" y="134779"/>
                  </a:lnTo>
                  <a:cubicBezTo>
                    <a:pt x="94774" y="141446"/>
                    <a:pt x="88106" y="147161"/>
                    <a:pt x="81439" y="147161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711D87E-2859-4301-A153-9C62DB528E0B}"/>
                </a:ext>
              </a:extLst>
            </p:cNvPr>
            <p:cNvSpPr/>
            <p:nvPr/>
          </p:nvSpPr>
          <p:spPr bwMode="gray">
            <a:xfrm>
              <a:off x="3293070" y="2417233"/>
              <a:ext cx="557412" cy="407339"/>
            </a:xfrm>
            <a:custGeom>
              <a:avLst/>
              <a:gdLst/>
              <a:ahLst/>
              <a:cxnLst/>
              <a:rect l="0" t="0" r="0" b="0"/>
              <a:pathLst>
                <a:path w="495300" h="361950">
                  <a:moveTo>
                    <a:pt x="488156" y="31909"/>
                  </a:moveTo>
                  <a:lnTo>
                    <a:pt x="439579" y="7144"/>
                  </a:lnTo>
                  <a:lnTo>
                    <a:pt x="7144" y="7144"/>
                  </a:lnTo>
                  <a:lnTo>
                    <a:pt x="7144" y="356711"/>
                  </a:lnTo>
                  <a:lnTo>
                    <a:pt x="433864" y="356711"/>
                  </a:lnTo>
                  <a:lnTo>
                    <a:pt x="488156" y="328136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A4F64010-C37F-4B0B-8C4B-E5CD5398E636}"/>
                </a:ext>
              </a:extLst>
            </p:cNvPr>
            <p:cNvSpPr/>
            <p:nvPr/>
          </p:nvSpPr>
          <p:spPr bwMode="gray">
            <a:xfrm>
              <a:off x="3293070" y="2392577"/>
              <a:ext cx="557412" cy="64317"/>
            </a:xfrm>
            <a:custGeom>
              <a:avLst/>
              <a:gdLst/>
              <a:ahLst/>
              <a:cxnLst/>
              <a:rect l="0" t="0" r="0" b="0"/>
              <a:pathLst>
                <a:path w="495300" h="57150">
                  <a:moveTo>
                    <a:pt x="488156" y="53816"/>
                  </a:moveTo>
                  <a:lnTo>
                    <a:pt x="488156" y="49054"/>
                  </a:lnTo>
                  <a:cubicBezTo>
                    <a:pt x="488156" y="26194"/>
                    <a:pt x="469106" y="7144"/>
                    <a:pt x="446246" y="7144"/>
                  </a:cubicBezTo>
                  <a:lnTo>
                    <a:pt x="7144" y="7144"/>
                  </a:lnTo>
                  <a:lnTo>
                    <a:pt x="7144" y="53816"/>
                  </a:lnTo>
                  <a:lnTo>
                    <a:pt x="488156" y="53816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DF5111A6-FF13-4B86-9A02-4968F86EFDFC}"/>
                </a:ext>
              </a:extLst>
            </p:cNvPr>
            <p:cNvSpPr/>
            <p:nvPr/>
          </p:nvSpPr>
          <p:spPr bwMode="gray">
            <a:xfrm>
              <a:off x="3293070" y="2778478"/>
              <a:ext cx="557412" cy="64317"/>
            </a:xfrm>
            <a:custGeom>
              <a:avLst/>
              <a:gdLst/>
              <a:ahLst/>
              <a:cxnLst/>
              <a:rect l="0" t="0" r="0" b="0"/>
              <a:pathLst>
                <a:path w="495300" h="57150">
                  <a:moveTo>
                    <a:pt x="7144" y="7144"/>
                  </a:moveTo>
                  <a:lnTo>
                    <a:pt x="7144" y="57626"/>
                  </a:lnTo>
                  <a:lnTo>
                    <a:pt x="446246" y="57626"/>
                  </a:lnTo>
                  <a:cubicBezTo>
                    <a:pt x="469106" y="57626"/>
                    <a:pt x="488156" y="38576"/>
                    <a:pt x="488156" y="15716"/>
                  </a:cubicBezTo>
                  <a:lnTo>
                    <a:pt x="488156" y="7144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D46C1B4E-7932-4411-ADEE-738D4EB9AB4F}"/>
                </a:ext>
              </a:extLst>
            </p:cNvPr>
            <p:cNvSpPr/>
            <p:nvPr/>
          </p:nvSpPr>
          <p:spPr bwMode="gray">
            <a:xfrm>
              <a:off x="3132278" y="2346484"/>
              <a:ext cx="235828" cy="482376"/>
            </a:xfrm>
            <a:custGeom>
              <a:avLst/>
              <a:gdLst/>
              <a:ahLst/>
              <a:cxnLst/>
              <a:rect l="0" t="0" r="0" b="0"/>
              <a:pathLst>
                <a:path w="209550" h="428625">
                  <a:moveTo>
                    <a:pt x="205264" y="391001"/>
                  </a:moveTo>
                  <a:lnTo>
                    <a:pt x="109061" y="428149"/>
                  </a:lnTo>
                  <a:lnTo>
                    <a:pt x="7144" y="391001"/>
                  </a:lnTo>
                  <a:lnTo>
                    <a:pt x="7144" y="48101"/>
                  </a:lnTo>
                  <a:lnTo>
                    <a:pt x="106204" y="7144"/>
                  </a:lnTo>
                  <a:lnTo>
                    <a:pt x="205264" y="48101"/>
                  </a:ln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403E67C2-61A7-4327-B9AE-EB39024D08C9}"/>
                </a:ext>
              </a:extLst>
            </p:cNvPr>
            <p:cNvSpPr/>
            <p:nvPr/>
          </p:nvSpPr>
          <p:spPr bwMode="gray">
            <a:xfrm>
              <a:off x="3132278" y="2327189"/>
              <a:ext cx="235828" cy="75036"/>
            </a:xfrm>
            <a:custGeom>
              <a:avLst/>
              <a:gdLst/>
              <a:ahLst/>
              <a:cxnLst/>
              <a:rect l="0" t="0" r="0" b="0"/>
              <a:pathLst>
                <a:path w="209550" h="66675">
                  <a:moveTo>
                    <a:pt x="205264" y="65246"/>
                  </a:moveTo>
                  <a:lnTo>
                    <a:pt x="205264" y="44291"/>
                  </a:lnTo>
                  <a:cubicBezTo>
                    <a:pt x="205264" y="23336"/>
                    <a:pt x="188119" y="7144"/>
                    <a:pt x="168116" y="7144"/>
                  </a:cubicBezTo>
                  <a:lnTo>
                    <a:pt x="44291" y="7144"/>
                  </a:lnTo>
                  <a:cubicBezTo>
                    <a:pt x="24289" y="7144"/>
                    <a:pt x="7144" y="24289"/>
                    <a:pt x="7144" y="44291"/>
                  </a:cubicBezTo>
                  <a:lnTo>
                    <a:pt x="7144" y="65246"/>
                  </a:lnTo>
                  <a:lnTo>
                    <a:pt x="205264" y="65246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6D3A9CA2-5D0F-4251-A1DB-C27B4C28C03D}"/>
                </a:ext>
              </a:extLst>
            </p:cNvPr>
            <p:cNvSpPr/>
            <p:nvPr/>
          </p:nvSpPr>
          <p:spPr bwMode="gray">
            <a:xfrm>
              <a:off x="3132278" y="2778478"/>
              <a:ext cx="235828" cy="64317"/>
            </a:xfrm>
            <a:custGeom>
              <a:avLst/>
              <a:gdLst/>
              <a:ahLst/>
              <a:cxnLst/>
              <a:rect l="0" t="0" r="0" b="0"/>
              <a:pathLst>
                <a:path w="209550" h="57150">
                  <a:moveTo>
                    <a:pt x="7144" y="7144"/>
                  </a:moveTo>
                  <a:lnTo>
                    <a:pt x="7144" y="19526"/>
                  </a:lnTo>
                  <a:cubicBezTo>
                    <a:pt x="7144" y="40481"/>
                    <a:pt x="24289" y="56674"/>
                    <a:pt x="44291" y="56674"/>
                  </a:cubicBezTo>
                  <a:lnTo>
                    <a:pt x="167164" y="56674"/>
                  </a:lnTo>
                  <a:cubicBezTo>
                    <a:pt x="188119" y="56674"/>
                    <a:pt x="204311" y="39529"/>
                    <a:pt x="204311" y="19526"/>
                  </a:cubicBezTo>
                  <a:lnTo>
                    <a:pt x="204311" y="7144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139DA858-1E17-41E2-A370-09FD78386FD7}"/>
                </a:ext>
              </a:extLst>
            </p:cNvPr>
            <p:cNvSpPr/>
            <p:nvPr/>
          </p:nvSpPr>
          <p:spPr bwMode="gray">
            <a:xfrm>
              <a:off x="3407769" y="2427952"/>
              <a:ext cx="375181" cy="375181"/>
            </a:xfrm>
            <a:custGeom>
              <a:avLst/>
              <a:gdLst/>
              <a:ahLst/>
              <a:cxnLst/>
              <a:rect l="0" t="0" r="0" b="0"/>
              <a:pathLst>
                <a:path w="333375" h="333375">
                  <a:moveTo>
                    <a:pt x="329089" y="168116"/>
                  </a:moveTo>
                  <a:cubicBezTo>
                    <a:pt x="329089" y="257019"/>
                    <a:pt x="257019" y="329089"/>
                    <a:pt x="168116" y="329089"/>
                  </a:cubicBezTo>
                  <a:cubicBezTo>
                    <a:pt x="79214" y="329089"/>
                    <a:pt x="7144" y="257019"/>
                    <a:pt x="7144" y="168116"/>
                  </a:cubicBezTo>
                  <a:cubicBezTo>
                    <a:pt x="7144" y="79214"/>
                    <a:pt x="79214" y="7144"/>
                    <a:pt x="168116" y="7144"/>
                  </a:cubicBezTo>
                  <a:cubicBezTo>
                    <a:pt x="257019" y="7144"/>
                    <a:pt x="329089" y="79214"/>
                    <a:pt x="329089" y="168116"/>
                  </a:cubicBez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B982D7D2-16E2-4E71-A0C9-3E8F510C3D69}"/>
                </a:ext>
              </a:extLst>
            </p:cNvPr>
            <p:cNvSpPr/>
            <p:nvPr/>
          </p:nvSpPr>
          <p:spPr bwMode="gray">
            <a:xfrm>
              <a:off x="3436711" y="2456894"/>
              <a:ext cx="310864" cy="310864"/>
            </a:xfrm>
            <a:custGeom>
              <a:avLst/>
              <a:gdLst/>
              <a:ahLst/>
              <a:cxnLst/>
              <a:rect l="0" t="0" r="0" b="0"/>
              <a:pathLst>
                <a:path w="276225" h="276225">
                  <a:moveTo>
                    <a:pt x="277654" y="142399"/>
                  </a:moveTo>
                  <a:cubicBezTo>
                    <a:pt x="277654" y="217098"/>
                    <a:pt x="217098" y="277654"/>
                    <a:pt x="142399" y="277654"/>
                  </a:cubicBezTo>
                  <a:cubicBezTo>
                    <a:pt x="67699" y="277654"/>
                    <a:pt x="7144" y="217098"/>
                    <a:pt x="7144" y="142399"/>
                  </a:cubicBezTo>
                  <a:cubicBezTo>
                    <a:pt x="7144" y="67699"/>
                    <a:pt x="67699" y="7144"/>
                    <a:pt x="142399" y="7144"/>
                  </a:cubicBezTo>
                  <a:cubicBezTo>
                    <a:pt x="217098" y="7144"/>
                    <a:pt x="277654" y="67699"/>
                    <a:pt x="277654" y="142399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A6D67E79-9064-4B8F-BA3E-B5213A78A1AD}"/>
                </a:ext>
              </a:extLst>
            </p:cNvPr>
            <p:cNvSpPr/>
            <p:nvPr/>
          </p:nvSpPr>
          <p:spPr bwMode="gray">
            <a:xfrm>
              <a:off x="3588927" y="2609110"/>
              <a:ext cx="160792" cy="160792"/>
            </a:xfrm>
            <a:custGeom>
              <a:avLst/>
              <a:gdLst/>
              <a:ahLst/>
              <a:cxnLst/>
              <a:rect l="0" t="0" r="0" b="0"/>
              <a:pathLst>
                <a:path w="142875" h="142875">
                  <a:moveTo>
                    <a:pt x="7144" y="141446"/>
                  </a:moveTo>
                  <a:lnTo>
                    <a:pt x="7144" y="7144"/>
                  </a:lnTo>
                  <a:lnTo>
                    <a:pt x="142399" y="7144"/>
                  </a:lnTo>
                  <a:lnTo>
                    <a:pt x="142399" y="7144"/>
                  </a:lnTo>
                  <a:cubicBezTo>
                    <a:pt x="142399" y="81439"/>
                    <a:pt x="82391" y="141446"/>
                    <a:pt x="7144" y="141446"/>
                  </a:cubicBezTo>
                  <a:lnTo>
                    <a:pt x="7144" y="141446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9881B2B0-E706-40DB-902E-6B6B6D6A4E6C}"/>
                </a:ext>
              </a:extLst>
            </p:cNvPr>
            <p:cNvSpPr/>
            <p:nvPr/>
          </p:nvSpPr>
          <p:spPr bwMode="gray">
            <a:xfrm>
              <a:off x="3497812" y="2517996"/>
              <a:ext cx="192950" cy="192950"/>
            </a:xfrm>
            <a:custGeom>
              <a:avLst/>
              <a:gdLst/>
              <a:ahLst/>
              <a:cxnLst/>
              <a:rect l="0" t="0" r="0" b="0"/>
              <a:pathLst>
                <a:path w="171450" h="171450">
                  <a:moveTo>
                    <a:pt x="169069" y="88106"/>
                  </a:moveTo>
                  <a:cubicBezTo>
                    <a:pt x="169069" y="132821"/>
                    <a:pt x="132821" y="169069"/>
                    <a:pt x="88106" y="169069"/>
                  </a:cubicBezTo>
                  <a:cubicBezTo>
                    <a:pt x="43392" y="169069"/>
                    <a:pt x="7144" y="132821"/>
                    <a:pt x="7144" y="88106"/>
                  </a:cubicBezTo>
                  <a:cubicBezTo>
                    <a:pt x="7144" y="43392"/>
                    <a:pt x="43392" y="7144"/>
                    <a:pt x="88106" y="7144"/>
                  </a:cubicBezTo>
                  <a:cubicBezTo>
                    <a:pt x="132821" y="7144"/>
                    <a:pt x="169069" y="43392"/>
                    <a:pt x="169069" y="88106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A2AA46AB-18A0-4251-B4B2-A28EA46FABC6}"/>
                </a:ext>
              </a:extLst>
            </p:cNvPr>
            <p:cNvSpPr/>
            <p:nvPr/>
          </p:nvSpPr>
          <p:spPr bwMode="gray">
            <a:xfrm>
              <a:off x="3528898" y="2549081"/>
              <a:ext cx="75036" cy="75036"/>
            </a:xfrm>
            <a:custGeom>
              <a:avLst/>
              <a:gdLst/>
              <a:ahLst/>
              <a:cxnLst/>
              <a:rect l="0" t="0" r="0" b="0"/>
              <a:pathLst>
                <a:path w="66675" h="66675">
                  <a:moveTo>
                    <a:pt x="68104" y="37624"/>
                  </a:moveTo>
                  <a:cubicBezTo>
                    <a:pt x="68104" y="54457"/>
                    <a:pt x="54457" y="68104"/>
                    <a:pt x="37624" y="68104"/>
                  </a:cubicBezTo>
                  <a:cubicBezTo>
                    <a:pt x="20790" y="68104"/>
                    <a:pt x="7144" y="54457"/>
                    <a:pt x="7144" y="37624"/>
                  </a:cubicBezTo>
                  <a:cubicBezTo>
                    <a:pt x="7144" y="20790"/>
                    <a:pt x="20790" y="7144"/>
                    <a:pt x="37624" y="7144"/>
                  </a:cubicBezTo>
                  <a:cubicBezTo>
                    <a:pt x="54457" y="7144"/>
                    <a:pt x="68104" y="20790"/>
                    <a:pt x="68104" y="3762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EF43424F-38F4-432B-AE52-7BC0881813F7}"/>
                </a:ext>
              </a:extLst>
            </p:cNvPr>
            <p:cNvSpPr/>
            <p:nvPr/>
          </p:nvSpPr>
          <p:spPr bwMode="gray">
            <a:xfrm>
              <a:off x="3388474" y="2416160"/>
              <a:ext cx="64317" cy="64317"/>
            </a:xfrm>
            <a:custGeom>
              <a:avLst/>
              <a:gdLst/>
              <a:ahLst/>
              <a:cxnLst/>
              <a:rect l="0" t="0" r="0" b="0"/>
              <a:pathLst>
                <a:path w="57150" h="57150">
                  <a:moveTo>
                    <a:pt x="58579" y="32861"/>
                  </a:moveTo>
                  <a:cubicBezTo>
                    <a:pt x="58579" y="47065"/>
                    <a:pt x="47065" y="58579"/>
                    <a:pt x="32861" y="58579"/>
                  </a:cubicBezTo>
                  <a:cubicBezTo>
                    <a:pt x="18658" y="58579"/>
                    <a:pt x="7144" y="47065"/>
                    <a:pt x="7144" y="32861"/>
                  </a:cubicBezTo>
                  <a:cubicBezTo>
                    <a:pt x="7144" y="18658"/>
                    <a:pt x="18658" y="7144"/>
                    <a:pt x="32861" y="7144"/>
                  </a:cubicBezTo>
                  <a:cubicBezTo>
                    <a:pt x="47065" y="7144"/>
                    <a:pt x="58579" y="18658"/>
                    <a:pt x="58579" y="32861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CA05F177-6194-465B-BE2A-800E5ED64142}"/>
                </a:ext>
              </a:extLst>
            </p:cNvPr>
            <p:cNvSpPr/>
            <p:nvPr/>
          </p:nvSpPr>
          <p:spPr bwMode="gray">
            <a:xfrm>
              <a:off x="3132278" y="2392577"/>
              <a:ext cx="96475" cy="396620"/>
            </a:xfrm>
            <a:custGeom>
              <a:avLst/>
              <a:gdLst/>
              <a:ahLst/>
              <a:cxnLst/>
              <a:rect l="0" t="0" r="0" b="0"/>
              <a:pathLst>
                <a:path w="85725" h="352425">
                  <a:moveTo>
                    <a:pt x="7144" y="7144"/>
                  </a:moveTo>
                  <a:lnTo>
                    <a:pt x="83344" y="7144"/>
                  </a:lnTo>
                  <a:lnTo>
                    <a:pt x="83344" y="350044"/>
                  </a:lnTo>
                  <a:lnTo>
                    <a:pt x="7144" y="350044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83D552AA-E188-4FE9-820E-7624D3B5EABD}"/>
                </a:ext>
              </a:extLst>
            </p:cNvPr>
            <p:cNvSpPr/>
            <p:nvPr/>
          </p:nvSpPr>
          <p:spPr bwMode="gray">
            <a:xfrm>
              <a:off x="3451718" y="2316470"/>
              <a:ext cx="289425" cy="85756"/>
            </a:xfrm>
            <a:custGeom>
              <a:avLst/>
              <a:gdLst/>
              <a:ahLst/>
              <a:cxnLst/>
              <a:rect l="0" t="0" r="0" b="0"/>
              <a:pathLst>
                <a:path w="257175" h="76200">
                  <a:moveTo>
                    <a:pt x="251936" y="75724"/>
                  </a:moveTo>
                  <a:lnTo>
                    <a:pt x="7144" y="75724"/>
                  </a:lnTo>
                  <a:lnTo>
                    <a:pt x="41434" y="17621"/>
                  </a:lnTo>
                  <a:cubicBezTo>
                    <a:pt x="45244" y="10954"/>
                    <a:pt x="52864" y="7144"/>
                    <a:pt x="60484" y="7144"/>
                  </a:cubicBezTo>
                  <a:lnTo>
                    <a:pt x="198596" y="7144"/>
                  </a:lnTo>
                  <a:cubicBezTo>
                    <a:pt x="206216" y="7144"/>
                    <a:pt x="213836" y="10954"/>
                    <a:pt x="217646" y="17621"/>
                  </a:cubicBezTo>
                  <a:lnTo>
                    <a:pt x="251936" y="75724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32842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19225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8134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23907563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5B81D8C-4C31-41CF-81D0-4CC568E35B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B0D150-A9DE-4F39-86C9-7D38F43CCD86}" type="datetimeFigureOut">
              <a:rPr lang="en-US" smtClean="0"/>
              <a:t>9/25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47094DA-DA93-4CD2-A064-3DCB895FA1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6DA05E-CF30-46A9-86AC-FEBDA78D1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F2C07D-92F8-4C70-8E18-1E2F4557176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36395F9-5D76-4DF3-A7A6-08A3F700E1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62056303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6296418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image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 rot="5400000">
            <a:off x="-1985377" y="1811203"/>
            <a:ext cx="6108339" cy="2485929"/>
            <a:chOff x="-32657" y="4691730"/>
            <a:chExt cx="6625100" cy="2804185"/>
          </a:xfrm>
        </p:grpSpPr>
        <p:sp>
          <p:nvSpPr>
            <p:cNvPr id="5" name="Freeform: Shape 4"/>
            <p:cNvSpPr/>
            <p:nvPr/>
          </p:nvSpPr>
          <p:spPr>
            <a:xfrm>
              <a:off x="-32657" y="4691730"/>
              <a:ext cx="6625100" cy="2687163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625100"/>
                <a:gd name="connsiteY0" fmla="*/ 1190184 h 2687163"/>
                <a:gd name="connsiteX1" fmla="*/ 765628 w 6625100"/>
                <a:gd name="connsiteY1" fmla="*/ 1865099 h 2687163"/>
                <a:gd name="connsiteX2" fmla="*/ 1531257 w 6625100"/>
                <a:gd name="connsiteY2" fmla="*/ 13 h 2687163"/>
                <a:gd name="connsiteX3" fmla="*/ 2140857 w 6625100"/>
                <a:gd name="connsiteY3" fmla="*/ 1897756 h 2687163"/>
                <a:gd name="connsiteX4" fmla="*/ 2804886 w 6625100"/>
                <a:gd name="connsiteY4" fmla="*/ 801927 h 2687163"/>
                <a:gd name="connsiteX5" fmla="*/ 3291114 w 6625100"/>
                <a:gd name="connsiteY5" fmla="*/ 1846956 h 2687163"/>
                <a:gd name="connsiteX6" fmla="*/ 3755571 w 6625100"/>
                <a:gd name="connsiteY6" fmla="*/ 1273641 h 2687163"/>
                <a:gd name="connsiteX7" fmla="*/ 4071257 w 6625100"/>
                <a:gd name="connsiteY7" fmla="*/ 1763499 h 2687163"/>
                <a:gd name="connsiteX8" fmla="*/ 4466771 w 6625100"/>
                <a:gd name="connsiteY8" fmla="*/ 399156 h 2687163"/>
                <a:gd name="connsiteX9" fmla="*/ 4858657 w 6625100"/>
                <a:gd name="connsiteY9" fmla="*/ 1357099 h 2687163"/>
                <a:gd name="connsiteX10" fmla="*/ 5148943 w 6625100"/>
                <a:gd name="connsiteY10" fmla="*/ 747499 h 2687163"/>
                <a:gd name="connsiteX11" fmla="*/ 5588000 w 6625100"/>
                <a:gd name="connsiteY11" fmla="*/ 1886870 h 2687163"/>
                <a:gd name="connsiteX12" fmla="*/ 6074228 w 6625100"/>
                <a:gd name="connsiteY12" fmla="*/ 928927 h 2687163"/>
                <a:gd name="connsiteX13" fmla="*/ 6625100 w 6625100"/>
                <a:gd name="connsiteY13" fmla="*/ 2687163 h 268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25100" h="2687163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1378" y="795545"/>
                    <a:pt x="6074228" y="928927"/>
                  </a:cubicBezTo>
                  <a:cubicBezTo>
                    <a:pt x="6247078" y="1062309"/>
                    <a:pt x="6476630" y="2043394"/>
                    <a:pt x="6625100" y="2687163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" name="Freeform: Shape 5"/>
            <p:cNvSpPr/>
            <p:nvPr/>
          </p:nvSpPr>
          <p:spPr>
            <a:xfrm>
              <a:off x="-32656" y="5183779"/>
              <a:ext cx="6586180" cy="221187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586180"/>
                <a:gd name="connsiteY0" fmla="*/ 1190184 h 2518602"/>
                <a:gd name="connsiteX1" fmla="*/ 765628 w 6586180"/>
                <a:gd name="connsiteY1" fmla="*/ 1865099 h 2518602"/>
                <a:gd name="connsiteX2" fmla="*/ 1531257 w 6586180"/>
                <a:gd name="connsiteY2" fmla="*/ 13 h 2518602"/>
                <a:gd name="connsiteX3" fmla="*/ 2140857 w 6586180"/>
                <a:gd name="connsiteY3" fmla="*/ 1897756 h 2518602"/>
                <a:gd name="connsiteX4" fmla="*/ 2804886 w 6586180"/>
                <a:gd name="connsiteY4" fmla="*/ 801927 h 2518602"/>
                <a:gd name="connsiteX5" fmla="*/ 3291114 w 6586180"/>
                <a:gd name="connsiteY5" fmla="*/ 1846956 h 2518602"/>
                <a:gd name="connsiteX6" fmla="*/ 3755571 w 6586180"/>
                <a:gd name="connsiteY6" fmla="*/ 1273641 h 2518602"/>
                <a:gd name="connsiteX7" fmla="*/ 4071257 w 6586180"/>
                <a:gd name="connsiteY7" fmla="*/ 1763499 h 2518602"/>
                <a:gd name="connsiteX8" fmla="*/ 4466771 w 6586180"/>
                <a:gd name="connsiteY8" fmla="*/ 399156 h 2518602"/>
                <a:gd name="connsiteX9" fmla="*/ 4858657 w 6586180"/>
                <a:gd name="connsiteY9" fmla="*/ 1357099 h 2518602"/>
                <a:gd name="connsiteX10" fmla="*/ 5148943 w 6586180"/>
                <a:gd name="connsiteY10" fmla="*/ 747499 h 2518602"/>
                <a:gd name="connsiteX11" fmla="*/ 5588000 w 6586180"/>
                <a:gd name="connsiteY11" fmla="*/ 1886870 h 2518602"/>
                <a:gd name="connsiteX12" fmla="*/ 6074228 w 6586180"/>
                <a:gd name="connsiteY12" fmla="*/ 928927 h 2518602"/>
                <a:gd name="connsiteX13" fmla="*/ 6586180 w 6586180"/>
                <a:gd name="connsiteY13" fmla="*/ 2518602 h 251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86180" h="2518602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7865" y="823638"/>
                    <a:pt x="6074228" y="928927"/>
                  </a:cubicBezTo>
                  <a:cubicBezTo>
                    <a:pt x="6240591" y="1034216"/>
                    <a:pt x="6437710" y="1874833"/>
                    <a:pt x="6586180" y="2518602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" name="Freeform: Shape 6"/>
            <p:cNvSpPr/>
            <p:nvPr/>
          </p:nvSpPr>
          <p:spPr>
            <a:xfrm>
              <a:off x="-32657" y="5939971"/>
              <a:ext cx="6527800" cy="147613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8" name="Freeform: Shape 7"/>
            <p:cNvSpPr/>
            <p:nvPr/>
          </p:nvSpPr>
          <p:spPr>
            <a:xfrm>
              <a:off x="-32657" y="6452313"/>
              <a:ext cx="6527800" cy="104360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9" name="Group 8"/>
          <p:cNvGrpSpPr/>
          <p:nvPr userDrawn="1"/>
        </p:nvGrpSpPr>
        <p:grpSpPr>
          <a:xfrm rot="5400000">
            <a:off x="1259186" y="-1691280"/>
            <a:ext cx="1150258" cy="4399565"/>
            <a:chOff x="1113971" y="3497757"/>
            <a:chExt cx="1150258" cy="3142530"/>
          </a:xfrm>
        </p:grpSpPr>
        <p:sp>
          <p:nvSpPr>
            <p:cNvPr id="10" name="Freeform: Shape 9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" name="Freeform: Shape 11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3" name="Freeform: Shape 12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: Shape 13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5" name="Group 14"/>
          <p:cNvGrpSpPr/>
          <p:nvPr userDrawn="1"/>
        </p:nvGrpSpPr>
        <p:grpSpPr>
          <a:xfrm>
            <a:off x="3897769" y="511147"/>
            <a:ext cx="274262" cy="274262"/>
            <a:chOff x="3766458" y="4912364"/>
            <a:chExt cx="468086" cy="468086"/>
          </a:xfrm>
        </p:grpSpPr>
        <p:sp>
          <p:nvSpPr>
            <p:cNvPr id="16" name="Oval 15"/>
            <p:cNvSpPr/>
            <p:nvPr/>
          </p:nvSpPr>
          <p:spPr>
            <a:xfrm>
              <a:off x="3766458" y="4912364"/>
              <a:ext cx="468086" cy="468086"/>
            </a:xfrm>
            <a:prstGeom prst="ellipse">
              <a:avLst/>
            </a:prstGeom>
            <a:noFill/>
            <a:ln w="19050">
              <a:solidFill>
                <a:schemeClr val="bg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Oval 16"/>
            <p:cNvSpPr/>
            <p:nvPr/>
          </p:nvSpPr>
          <p:spPr>
            <a:xfrm>
              <a:off x="3860079" y="5005985"/>
              <a:ext cx="280844" cy="280844"/>
            </a:xfrm>
            <a:prstGeom prst="ellipse">
              <a:avLst/>
            </a:prstGeom>
            <a:noFill/>
            <a:ln w="19050">
              <a:solidFill>
                <a:schemeClr val="bg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Oval 17"/>
            <p:cNvSpPr/>
            <p:nvPr/>
          </p:nvSpPr>
          <p:spPr>
            <a:xfrm>
              <a:off x="3959681" y="5105587"/>
              <a:ext cx="81640" cy="81640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9" name="Group 18"/>
          <p:cNvGrpSpPr/>
          <p:nvPr userDrawn="1"/>
        </p:nvGrpSpPr>
        <p:grpSpPr>
          <a:xfrm flipH="1">
            <a:off x="5387922" y="2675607"/>
            <a:ext cx="6879800" cy="3485708"/>
            <a:chOff x="2661557" y="1008743"/>
            <a:chExt cx="6025243" cy="1848757"/>
          </a:xfrm>
        </p:grpSpPr>
        <p:sp>
          <p:nvSpPr>
            <p:cNvPr id="20" name="Freeform: Shape 19"/>
            <p:cNvSpPr/>
            <p:nvPr/>
          </p:nvSpPr>
          <p:spPr>
            <a:xfrm>
              <a:off x="2661557" y="1008743"/>
              <a:ext cx="6025243" cy="12391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Freeform: Shape 20"/>
            <p:cNvSpPr/>
            <p:nvPr/>
          </p:nvSpPr>
          <p:spPr>
            <a:xfrm>
              <a:off x="2661557" y="1008743"/>
              <a:ext cx="6025243" cy="13915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: Shape 21"/>
            <p:cNvSpPr/>
            <p:nvPr/>
          </p:nvSpPr>
          <p:spPr>
            <a:xfrm>
              <a:off x="2661557" y="1008743"/>
              <a:ext cx="6025243" cy="15439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: Shape 22"/>
            <p:cNvSpPr/>
            <p:nvPr/>
          </p:nvSpPr>
          <p:spPr>
            <a:xfrm>
              <a:off x="2661557" y="1008743"/>
              <a:ext cx="6025243" cy="16963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: Shape 23"/>
            <p:cNvSpPr/>
            <p:nvPr/>
          </p:nvSpPr>
          <p:spPr>
            <a:xfrm>
              <a:off x="2661557" y="1008743"/>
              <a:ext cx="6025243" cy="18487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5" name="Group 24"/>
          <p:cNvGrpSpPr/>
          <p:nvPr userDrawn="1"/>
        </p:nvGrpSpPr>
        <p:grpSpPr>
          <a:xfrm>
            <a:off x="5161680" y="2470138"/>
            <a:ext cx="468086" cy="468086"/>
            <a:chOff x="3766458" y="4912364"/>
            <a:chExt cx="468086" cy="468086"/>
          </a:xfrm>
        </p:grpSpPr>
        <p:sp>
          <p:nvSpPr>
            <p:cNvPr id="26" name="Oval 25"/>
            <p:cNvSpPr/>
            <p:nvPr/>
          </p:nvSpPr>
          <p:spPr>
            <a:xfrm>
              <a:off x="3766458" y="4912364"/>
              <a:ext cx="468086" cy="468086"/>
            </a:xfrm>
            <a:prstGeom prst="ellipse">
              <a:avLst/>
            </a:prstGeom>
            <a:noFill/>
            <a:ln w="28575">
              <a:solidFill>
                <a:schemeClr val="bg1">
                  <a:alpha val="7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3860079" y="5005985"/>
              <a:ext cx="280844" cy="280844"/>
            </a:xfrm>
            <a:prstGeom prst="ellipse">
              <a:avLst/>
            </a:prstGeom>
            <a:noFill/>
            <a:ln w="28575">
              <a:solidFill>
                <a:schemeClr val="bg1">
                  <a:alpha val="7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3959681" y="5105587"/>
              <a:ext cx="81640" cy="81640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9" name="Group 28"/>
          <p:cNvGrpSpPr/>
          <p:nvPr userDrawn="1"/>
        </p:nvGrpSpPr>
        <p:grpSpPr>
          <a:xfrm rot="19175348" flipH="1">
            <a:off x="4554593" y="364683"/>
            <a:ext cx="3645245" cy="1320522"/>
            <a:chOff x="5347225" y="-195944"/>
            <a:chExt cx="3320143" cy="727076"/>
          </a:xfrm>
        </p:grpSpPr>
        <p:sp>
          <p:nvSpPr>
            <p:cNvPr id="30" name="Freeform: Shape 29"/>
            <p:cNvSpPr/>
            <p:nvPr/>
          </p:nvSpPr>
          <p:spPr>
            <a:xfrm flipV="1">
              <a:off x="5347225" y="261256"/>
              <a:ext cx="3320143" cy="2698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1" name="Freeform: Shape 30"/>
            <p:cNvSpPr/>
            <p:nvPr/>
          </p:nvSpPr>
          <p:spPr>
            <a:xfrm flipV="1">
              <a:off x="5347225" y="108856"/>
              <a:ext cx="3320143" cy="4222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2" name="Freeform: Shape 31"/>
            <p:cNvSpPr/>
            <p:nvPr/>
          </p:nvSpPr>
          <p:spPr>
            <a:xfrm flipV="1">
              <a:off x="5347225" y="-43544"/>
              <a:ext cx="3320143" cy="5746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3" name="Freeform: Shape 32"/>
            <p:cNvSpPr/>
            <p:nvPr/>
          </p:nvSpPr>
          <p:spPr>
            <a:xfrm flipV="1">
              <a:off x="5347225" y="-195944"/>
              <a:ext cx="3320143" cy="7270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34" name="Oval 33"/>
          <p:cNvSpPr/>
          <p:nvPr userDrawn="1"/>
        </p:nvSpPr>
        <p:spPr>
          <a:xfrm>
            <a:off x="1879902" y="5994991"/>
            <a:ext cx="79452" cy="79452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5" name="Oval 34"/>
          <p:cNvSpPr/>
          <p:nvPr userDrawn="1"/>
        </p:nvSpPr>
        <p:spPr>
          <a:xfrm>
            <a:off x="6371462" y="5806091"/>
            <a:ext cx="79452" cy="79452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6" name="Oval 35"/>
          <p:cNvSpPr/>
          <p:nvPr userDrawn="1"/>
        </p:nvSpPr>
        <p:spPr>
          <a:xfrm>
            <a:off x="1836477" y="3344498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7" name="Oval 36"/>
          <p:cNvSpPr/>
          <p:nvPr userDrawn="1"/>
        </p:nvSpPr>
        <p:spPr>
          <a:xfrm>
            <a:off x="871870" y="6104512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8" name="Oval 37"/>
          <p:cNvSpPr/>
          <p:nvPr userDrawn="1"/>
        </p:nvSpPr>
        <p:spPr>
          <a:xfrm>
            <a:off x="1381204" y="3209302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9" name="Oval 38"/>
          <p:cNvSpPr/>
          <p:nvPr userDrawn="1"/>
        </p:nvSpPr>
        <p:spPr>
          <a:xfrm>
            <a:off x="1577329" y="738421"/>
            <a:ext cx="69136" cy="69136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0" name="Oval 39"/>
          <p:cNvSpPr/>
          <p:nvPr userDrawn="1"/>
        </p:nvSpPr>
        <p:spPr>
          <a:xfrm>
            <a:off x="1049170" y="6443419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1791000" y="2788039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3048816" y="2896666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43" name="Group 42"/>
          <p:cNvGrpSpPr/>
          <p:nvPr userDrawn="1"/>
        </p:nvGrpSpPr>
        <p:grpSpPr>
          <a:xfrm rot="5400000">
            <a:off x="-2095598" y="1716892"/>
            <a:ext cx="5147155" cy="1686894"/>
            <a:chOff x="-32657" y="4691730"/>
            <a:chExt cx="6625100" cy="2804185"/>
          </a:xfrm>
        </p:grpSpPr>
        <p:sp>
          <p:nvSpPr>
            <p:cNvPr id="44" name="Freeform: Shape 43"/>
            <p:cNvSpPr/>
            <p:nvPr/>
          </p:nvSpPr>
          <p:spPr>
            <a:xfrm>
              <a:off x="-32657" y="4691730"/>
              <a:ext cx="6625100" cy="2687163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625100"/>
                <a:gd name="connsiteY0" fmla="*/ 1190184 h 2687163"/>
                <a:gd name="connsiteX1" fmla="*/ 765628 w 6625100"/>
                <a:gd name="connsiteY1" fmla="*/ 1865099 h 2687163"/>
                <a:gd name="connsiteX2" fmla="*/ 1531257 w 6625100"/>
                <a:gd name="connsiteY2" fmla="*/ 13 h 2687163"/>
                <a:gd name="connsiteX3" fmla="*/ 2140857 w 6625100"/>
                <a:gd name="connsiteY3" fmla="*/ 1897756 h 2687163"/>
                <a:gd name="connsiteX4" fmla="*/ 2804886 w 6625100"/>
                <a:gd name="connsiteY4" fmla="*/ 801927 h 2687163"/>
                <a:gd name="connsiteX5" fmla="*/ 3291114 w 6625100"/>
                <a:gd name="connsiteY5" fmla="*/ 1846956 h 2687163"/>
                <a:gd name="connsiteX6" fmla="*/ 3755571 w 6625100"/>
                <a:gd name="connsiteY6" fmla="*/ 1273641 h 2687163"/>
                <a:gd name="connsiteX7" fmla="*/ 4071257 w 6625100"/>
                <a:gd name="connsiteY7" fmla="*/ 1763499 h 2687163"/>
                <a:gd name="connsiteX8" fmla="*/ 4466771 w 6625100"/>
                <a:gd name="connsiteY8" fmla="*/ 399156 h 2687163"/>
                <a:gd name="connsiteX9" fmla="*/ 4858657 w 6625100"/>
                <a:gd name="connsiteY9" fmla="*/ 1357099 h 2687163"/>
                <a:gd name="connsiteX10" fmla="*/ 5148943 w 6625100"/>
                <a:gd name="connsiteY10" fmla="*/ 747499 h 2687163"/>
                <a:gd name="connsiteX11" fmla="*/ 5588000 w 6625100"/>
                <a:gd name="connsiteY11" fmla="*/ 1886870 h 2687163"/>
                <a:gd name="connsiteX12" fmla="*/ 6074228 w 6625100"/>
                <a:gd name="connsiteY12" fmla="*/ 928927 h 2687163"/>
                <a:gd name="connsiteX13" fmla="*/ 6625100 w 6625100"/>
                <a:gd name="connsiteY13" fmla="*/ 2687163 h 268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25100" h="2687163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1378" y="795545"/>
                    <a:pt x="6074228" y="928927"/>
                  </a:cubicBezTo>
                  <a:cubicBezTo>
                    <a:pt x="6247078" y="1062309"/>
                    <a:pt x="6476630" y="2043394"/>
                    <a:pt x="6625100" y="2687163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-32656" y="5183779"/>
              <a:ext cx="6586180" cy="221187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586180"/>
                <a:gd name="connsiteY0" fmla="*/ 1190184 h 2518602"/>
                <a:gd name="connsiteX1" fmla="*/ 765628 w 6586180"/>
                <a:gd name="connsiteY1" fmla="*/ 1865099 h 2518602"/>
                <a:gd name="connsiteX2" fmla="*/ 1531257 w 6586180"/>
                <a:gd name="connsiteY2" fmla="*/ 13 h 2518602"/>
                <a:gd name="connsiteX3" fmla="*/ 2140857 w 6586180"/>
                <a:gd name="connsiteY3" fmla="*/ 1897756 h 2518602"/>
                <a:gd name="connsiteX4" fmla="*/ 2804886 w 6586180"/>
                <a:gd name="connsiteY4" fmla="*/ 801927 h 2518602"/>
                <a:gd name="connsiteX5" fmla="*/ 3291114 w 6586180"/>
                <a:gd name="connsiteY5" fmla="*/ 1846956 h 2518602"/>
                <a:gd name="connsiteX6" fmla="*/ 3755571 w 6586180"/>
                <a:gd name="connsiteY6" fmla="*/ 1273641 h 2518602"/>
                <a:gd name="connsiteX7" fmla="*/ 4071257 w 6586180"/>
                <a:gd name="connsiteY7" fmla="*/ 1763499 h 2518602"/>
                <a:gd name="connsiteX8" fmla="*/ 4466771 w 6586180"/>
                <a:gd name="connsiteY8" fmla="*/ 399156 h 2518602"/>
                <a:gd name="connsiteX9" fmla="*/ 4858657 w 6586180"/>
                <a:gd name="connsiteY9" fmla="*/ 1357099 h 2518602"/>
                <a:gd name="connsiteX10" fmla="*/ 5148943 w 6586180"/>
                <a:gd name="connsiteY10" fmla="*/ 747499 h 2518602"/>
                <a:gd name="connsiteX11" fmla="*/ 5588000 w 6586180"/>
                <a:gd name="connsiteY11" fmla="*/ 1886870 h 2518602"/>
                <a:gd name="connsiteX12" fmla="*/ 6074228 w 6586180"/>
                <a:gd name="connsiteY12" fmla="*/ 928927 h 2518602"/>
                <a:gd name="connsiteX13" fmla="*/ 6586180 w 6586180"/>
                <a:gd name="connsiteY13" fmla="*/ 2518602 h 251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86180" h="2518602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7865" y="823638"/>
                    <a:pt x="6074228" y="928927"/>
                  </a:cubicBezTo>
                  <a:cubicBezTo>
                    <a:pt x="6240591" y="1034216"/>
                    <a:pt x="6437710" y="1874833"/>
                    <a:pt x="6586180" y="2518602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-32657" y="5939971"/>
              <a:ext cx="6527800" cy="147613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732971" y="6452314"/>
              <a:ext cx="5762172" cy="1043601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5762172"/>
                <a:gd name="connsiteY0" fmla="*/ 1865099 h 2282384"/>
                <a:gd name="connsiteX1" fmla="*/ 765629 w 5762172"/>
                <a:gd name="connsiteY1" fmla="*/ 13 h 2282384"/>
                <a:gd name="connsiteX2" fmla="*/ 1375229 w 5762172"/>
                <a:gd name="connsiteY2" fmla="*/ 1897756 h 2282384"/>
                <a:gd name="connsiteX3" fmla="*/ 2039258 w 5762172"/>
                <a:gd name="connsiteY3" fmla="*/ 801927 h 2282384"/>
                <a:gd name="connsiteX4" fmla="*/ 2525486 w 5762172"/>
                <a:gd name="connsiteY4" fmla="*/ 1846956 h 2282384"/>
                <a:gd name="connsiteX5" fmla="*/ 2989943 w 5762172"/>
                <a:gd name="connsiteY5" fmla="*/ 1273641 h 2282384"/>
                <a:gd name="connsiteX6" fmla="*/ 3305629 w 5762172"/>
                <a:gd name="connsiteY6" fmla="*/ 1763499 h 2282384"/>
                <a:gd name="connsiteX7" fmla="*/ 3701143 w 5762172"/>
                <a:gd name="connsiteY7" fmla="*/ 399156 h 2282384"/>
                <a:gd name="connsiteX8" fmla="*/ 4093029 w 5762172"/>
                <a:gd name="connsiteY8" fmla="*/ 1357099 h 2282384"/>
                <a:gd name="connsiteX9" fmla="*/ 4383315 w 5762172"/>
                <a:gd name="connsiteY9" fmla="*/ 747499 h 2282384"/>
                <a:gd name="connsiteX10" fmla="*/ 4822372 w 5762172"/>
                <a:gd name="connsiteY10" fmla="*/ 1886870 h 2282384"/>
                <a:gd name="connsiteX11" fmla="*/ 5308600 w 5762172"/>
                <a:gd name="connsiteY11" fmla="*/ 928927 h 2282384"/>
                <a:gd name="connsiteX12" fmla="*/ 5762172 w 5762172"/>
                <a:gd name="connsiteY12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62172" h="2282384">
                  <a:moveTo>
                    <a:pt x="0" y="1865099"/>
                  </a:moveTo>
                  <a:cubicBezTo>
                    <a:pt x="255209" y="1666737"/>
                    <a:pt x="536424" y="-5430"/>
                    <a:pt x="765629" y="13"/>
                  </a:cubicBezTo>
                  <a:cubicBezTo>
                    <a:pt x="994834" y="5456"/>
                    <a:pt x="1162957" y="1764104"/>
                    <a:pt x="1375229" y="1897756"/>
                  </a:cubicBezTo>
                  <a:cubicBezTo>
                    <a:pt x="1587501" y="2031408"/>
                    <a:pt x="1847549" y="810394"/>
                    <a:pt x="2039258" y="801927"/>
                  </a:cubicBezTo>
                  <a:cubicBezTo>
                    <a:pt x="2230967" y="793460"/>
                    <a:pt x="2367039" y="1768337"/>
                    <a:pt x="2525486" y="1846956"/>
                  </a:cubicBezTo>
                  <a:cubicBezTo>
                    <a:pt x="2683933" y="1925575"/>
                    <a:pt x="2859919" y="1287550"/>
                    <a:pt x="2989943" y="1273641"/>
                  </a:cubicBezTo>
                  <a:cubicBezTo>
                    <a:pt x="3119967" y="1259732"/>
                    <a:pt x="3187096" y="1909247"/>
                    <a:pt x="3305629" y="1763499"/>
                  </a:cubicBezTo>
                  <a:cubicBezTo>
                    <a:pt x="3424162" y="1617752"/>
                    <a:pt x="3569910" y="466889"/>
                    <a:pt x="3701143" y="399156"/>
                  </a:cubicBezTo>
                  <a:cubicBezTo>
                    <a:pt x="3832376" y="331423"/>
                    <a:pt x="3979334" y="1299042"/>
                    <a:pt x="4093029" y="1357099"/>
                  </a:cubicBezTo>
                  <a:cubicBezTo>
                    <a:pt x="4206724" y="1415156"/>
                    <a:pt x="4261758" y="659204"/>
                    <a:pt x="4383315" y="747499"/>
                  </a:cubicBezTo>
                  <a:cubicBezTo>
                    <a:pt x="4504872" y="835794"/>
                    <a:pt x="4668158" y="1856632"/>
                    <a:pt x="4822372" y="1886870"/>
                  </a:cubicBezTo>
                  <a:cubicBezTo>
                    <a:pt x="4976586" y="1917108"/>
                    <a:pt x="5151967" y="863008"/>
                    <a:pt x="5308600" y="928927"/>
                  </a:cubicBezTo>
                  <a:cubicBezTo>
                    <a:pt x="5465233" y="994846"/>
                    <a:pt x="5613702" y="1638615"/>
                    <a:pt x="5762172" y="2282384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48" name="Group 47"/>
          <p:cNvGrpSpPr/>
          <p:nvPr userDrawn="1"/>
        </p:nvGrpSpPr>
        <p:grpSpPr>
          <a:xfrm rot="4500000">
            <a:off x="733516" y="1543528"/>
            <a:ext cx="1392007" cy="3437532"/>
            <a:chOff x="1113971" y="3497757"/>
            <a:chExt cx="1150258" cy="3142530"/>
          </a:xfrm>
        </p:grpSpPr>
        <p:sp>
          <p:nvSpPr>
            <p:cNvPr id="49" name="Freeform: Shape 48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Group 52"/>
          <p:cNvGrpSpPr/>
          <p:nvPr userDrawn="1"/>
        </p:nvGrpSpPr>
        <p:grpSpPr>
          <a:xfrm rot="15300000" flipH="1">
            <a:off x="10722026" y="-306678"/>
            <a:ext cx="1590444" cy="2118297"/>
            <a:chOff x="1113971" y="3497757"/>
            <a:chExt cx="1150258" cy="3142530"/>
          </a:xfrm>
        </p:grpSpPr>
        <p:sp>
          <p:nvSpPr>
            <p:cNvPr id="54" name="Freeform: Shape 53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58" name="Oval 57"/>
          <p:cNvSpPr/>
          <p:nvPr userDrawn="1"/>
        </p:nvSpPr>
        <p:spPr>
          <a:xfrm>
            <a:off x="2214858" y="683335"/>
            <a:ext cx="69136" cy="69136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9" name="Oval 58"/>
          <p:cNvSpPr/>
          <p:nvPr userDrawn="1"/>
        </p:nvSpPr>
        <p:spPr>
          <a:xfrm>
            <a:off x="2648273" y="669742"/>
            <a:ext cx="51383" cy="5138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60" name="Group 59"/>
          <p:cNvGrpSpPr/>
          <p:nvPr userDrawn="1"/>
        </p:nvGrpSpPr>
        <p:grpSpPr>
          <a:xfrm>
            <a:off x="5756094" y="2301513"/>
            <a:ext cx="3899073" cy="1191791"/>
            <a:chOff x="5756093" y="2301512"/>
            <a:chExt cx="3899073" cy="1191791"/>
          </a:xfrm>
        </p:grpSpPr>
        <p:sp>
          <p:nvSpPr>
            <p:cNvPr id="61" name="Oval 60"/>
            <p:cNvSpPr/>
            <p:nvPr/>
          </p:nvSpPr>
          <p:spPr>
            <a:xfrm>
              <a:off x="8266386" y="2347545"/>
              <a:ext cx="254716" cy="254716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2" name="Oval 61"/>
            <p:cNvSpPr/>
            <p:nvPr/>
          </p:nvSpPr>
          <p:spPr>
            <a:xfrm>
              <a:off x="6326273" y="2776652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3" name="Oval 62"/>
            <p:cNvSpPr/>
            <p:nvPr/>
          </p:nvSpPr>
          <p:spPr>
            <a:xfrm>
              <a:off x="7275317" y="2569605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4" name="Oval 63"/>
            <p:cNvSpPr/>
            <p:nvPr/>
          </p:nvSpPr>
          <p:spPr>
            <a:xfrm>
              <a:off x="6676654" y="2855918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5" name="Oval 64"/>
            <p:cNvSpPr/>
            <p:nvPr/>
          </p:nvSpPr>
          <p:spPr>
            <a:xfrm>
              <a:off x="7021860" y="2762326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6" name="Oval 65"/>
            <p:cNvSpPr/>
            <p:nvPr/>
          </p:nvSpPr>
          <p:spPr>
            <a:xfrm>
              <a:off x="9150042" y="3113746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7" name="Oval 66"/>
            <p:cNvSpPr/>
            <p:nvPr/>
          </p:nvSpPr>
          <p:spPr>
            <a:xfrm>
              <a:off x="7521113" y="2409075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8" name="Oval 67"/>
            <p:cNvSpPr/>
            <p:nvPr/>
          </p:nvSpPr>
          <p:spPr>
            <a:xfrm>
              <a:off x="8821654" y="2895644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7911267" y="2301512"/>
              <a:ext cx="156013" cy="156013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8622432" y="2646039"/>
              <a:ext cx="156013" cy="156013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6046050" y="2698396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5756093" y="2768856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3" name="Oval 72"/>
            <p:cNvSpPr/>
            <p:nvPr/>
          </p:nvSpPr>
          <p:spPr>
            <a:xfrm>
              <a:off x="9364414" y="3258175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9609447" y="3447584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75" name="Group 74"/>
          <p:cNvGrpSpPr/>
          <p:nvPr userDrawn="1"/>
        </p:nvGrpSpPr>
        <p:grpSpPr>
          <a:xfrm rot="900000">
            <a:off x="9257656" y="2981059"/>
            <a:ext cx="3437832" cy="4758449"/>
            <a:chOff x="9385524" y="2790411"/>
            <a:chExt cx="3437832" cy="4758449"/>
          </a:xfrm>
        </p:grpSpPr>
        <p:sp>
          <p:nvSpPr>
            <p:cNvPr id="76" name="Freeform: Shape 75"/>
            <p:cNvSpPr/>
            <p:nvPr/>
          </p:nvSpPr>
          <p:spPr>
            <a:xfrm rot="1859816">
              <a:off x="9385524" y="2790411"/>
              <a:ext cx="2012192" cy="3930693"/>
            </a:xfrm>
            <a:custGeom>
              <a:avLst/>
              <a:gdLst>
                <a:gd name="connsiteX0" fmla="*/ 1226774 w 1394417"/>
                <a:gd name="connsiteY0" fmla="*/ 0 h 3497943"/>
                <a:gd name="connsiteX1" fmla="*/ 660717 w 1394417"/>
                <a:gd name="connsiteY1" fmla="*/ 254000 h 3497943"/>
                <a:gd name="connsiteX2" fmla="*/ 1299345 w 1394417"/>
                <a:gd name="connsiteY2" fmla="*/ 635000 h 3497943"/>
                <a:gd name="connsiteX3" fmla="*/ 317 w 1394417"/>
                <a:gd name="connsiteY3" fmla="*/ 1157514 h 3497943"/>
                <a:gd name="connsiteX4" fmla="*/ 1168717 w 1394417"/>
                <a:gd name="connsiteY4" fmla="*/ 2028371 h 3497943"/>
                <a:gd name="connsiteX5" fmla="*/ 504688 w 1394417"/>
                <a:gd name="connsiteY5" fmla="*/ 2630714 h 3497943"/>
                <a:gd name="connsiteX6" fmla="*/ 1379174 w 1394417"/>
                <a:gd name="connsiteY6" fmla="*/ 3066143 h 3497943"/>
                <a:gd name="connsiteX7" fmla="*/ 1081631 w 1394417"/>
                <a:gd name="connsiteY7" fmla="*/ 3334657 h 3497943"/>
                <a:gd name="connsiteX8" fmla="*/ 1357402 w 1394417"/>
                <a:gd name="connsiteY8" fmla="*/ 3497943 h 3497943"/>
                <a:gd name="connsiteX0" fmla="*/ 1406051 w 1406051"/>
                <a:gd name="connsiteY0" fmla="*/ 0 h 3542949"/>
                <a:gd name="connsiteX1" fmla="*/ 660717 w 1406051"/>
                <a:gd name="connsiteY1" fmla="*/ 299006 h 3542949"/>
                <a:gd name="connsiteX2" fmla="*/ 1299345 w 1406051"/>
                <a:gd name="connsiteY2" fmla="*/ 680006 h 3542949"/>
                <a:gd name="connsiteX3" fmla="*/ 317 w 1406051"/>
                <a:gd name="connsiteY3" fmla="*/ 1202520 h 3542949"/>
                <a:gd name="connsiteX4" fmla="*/ 1168717 w 1406051"/>
                <a:gd name="connsiteY4" fmla="*/ 2073377 h 3542949"/>
                <a:gd name="connsiteX5" fmla="*/ 504688 w 1406051"/>
                <a:gd name="connsiteY5" fmla="*/ 2675720 h 3542949"/>
                <a:gd name="connsiteX6" fmla="*/ 1379174 w 1406051"/>
                <a:gd name="connsiteY6" fmla="*/ 3111149 h 3542949"/>
                <a:gd name="connsiteX7" fmla="*/ 1081631 w 1406051"/>
                <a:gd name="connsiteY7" fmla="*/ 3379663 h 3542949"/>
                <a:gd name="connsiteX8" fmla="*/ 1357402 w 1406051"/>
                <a:gd name="connsiteY8" fmla="*/ 3542949 h 3542949"/>
                <a:gd name="connsiteX0" fmla="*/ 1406051 w 1442185"/>
                <a:gd name="connsiteY0" fmla="*/ 0 h 3633781"/>
                <a:gd name="connsiteX1" fmla="*/ 660717 w 1442185"/>
                <a:gd name="connsiteY1" fmla="*/ 299006 h 3633781"/>
                <a:gd name="connsiteX2" fmla="*/ 1299345 w 1442185"/>
                <a:gd name="connsiteY2" fmla="*/ 680006 h 3633781"/>
                <a:gd name="connsiteX3" fmla="*/ 317 w 1442185"/>
                <a:gd name="connsiteY3" fmla="*/ 1202520 h 3633781"/>
                <a:gd name="connsiteX4" fmla="*/ 1168717 w 1442185"/>
                <a:gd name="connsiteY4" fmla="*/ 2073377 h 3633781"/>
                <a:gd name="connsiteX5" fmla="*/ 504688 w 1442185"/>
                <a:gd name="connsiteY5" fmla="*/ 2675720 h 3633781"/>
                <a:gd name="connsiteX6" fmla="*/ 1379174 w 1442185"/>
                <a:gd name="connsiteY6" fmla="*/ 3111149 h 3633781"/>
                <a:gd name="connsiteX7" fmla="*/ 1081631 w 1442185"/>
                <a:gd name="connsiteY7" fmla="*/ 3379663 h 3633781"/>
                <a:gd name="connsiteX8" fmla="*/ 1442185 w 1442185"/>
                <a:gd name="connsiteY8" fmla="*/ 3633781 h 363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2185" h="3633781">
                  <a:moveTo>
                    <a:pt x="1406051" y="0"/>
                  </a:moveTo>
                  <a:cubicBezTo>
                    <a:pt x="1116975" y="74083"/>
                    <a:pt x="678501" y="185672"/>
                    <a:pt x="660717" y="299006"/>
                  </a:cubicBezTo>
                  <a:cubicBezTo>
                    <a:pt x="642933" y="412340"/>
                    <a:pt x="1409412" y="529420"/>
                    <a:pt x="1299345" y="680006"/>
                  </a:cubicBezTo>
                  <a:cubicBezTo>
                    <a:pt x="1189278" y="830592"/>
                    <a:pt x="22088" y="970292"/>
                    <a:pt x="317" y="1202520"/>
                  </a:cubicBezTo>
                  <a:cubicBezTo>
                    <a:pt x="-21454" y="1434748"/>
                    <a:pt x="1084655" y="1827844"/>
                    <a:pt x="1168717" y="2073377"/>
                  </a:cubicBezTo>
                  <a:cubicBezTo>
                    <a:pt x="1252779" y="2318910"/>
                    <a:pt x="469612" y="2502758"/>
                    <a:pt x="504688" y="2675720"/>
                  </a:cubicBezTo>
                  <a:cubicBezTo>
                    <a:pt x="539764" y="2848682"/>
                    <a:pt x="1283017" y="2993825"/>
                    <a:pt x="1379174" y="3111149"/>
                  </a:cubicBezTo>
                  <a:cubicBezTo>
                    <a:pt x="1475331" y="3228473"/>
                    <a:pt x="1071129" y="3292558"/>
                    <a:pt x="1081631" y="3379663"/>
                  </a:cubicBezTo>
                  <a:cubicBezTo>
                    <a:pt x="1092133" y="3466768"/>
                    <a:pt x="1302485" y="3588121"/>
                    <a:pt x="1442185" y="3633781"/>
                  </a:cubicBezTo>
                </a:path>
              </a:pathLst>
            </a:custGeom>
            <a:noFill/>
            <a:ln>
              <a:solidFill>
                <a:schemeClr val="bg1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grpSp>
          <p:nvGrpSpPr>
            <p:cNvPr id="77" name="Group 76"/>
            <p:cNvGrpSpPr/>
            <p:nvPr/>
          </p:nvGrpSpPr>
          <p:grpSpPr>
            <a:xfrm>
              <a:off x="9659552" y="2944459"/>
              <a:ext cx="3163804" cy="4604401"/>
              <a:chOff x="9659552" y="2944459"/>
              <a:chExt cx="3163804" cy="4604401"/>
            </a:xfrm>
          </p:grpSpPr>
          <p:sp>
            <p:nvSpPr>
              <p:cNvPr id="78" name="Oval 77"/>
              <p:cNvSpPr/>
              <p:nvPr/>
            </p:nvSpPr>
            <p:spPr>
              <a:xfrm>
                <a:off x="10823866" y="3987711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79" name="Group 78"/>
              <p:cNvGrpSpPr/>
              <p:nvPr/>
            </p:nvGrpSpPr>
            <p:grpSpPr>
              <a:xfrm>
                <a:off x="10171356" y="3779500"/>
                <a:ext cx="468086" cy="468086"/>
                <a:chOff x="3766458" y="4912364"/>
                <a:chExt cx="468086" cy="468086"/>
              </a:xfrm>
            </p:grpSpPr>
            <p:sp>
              <p:nvSpPr>
                <p:cNvPr id="103" name="Oval 102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4" name="Oval 103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5" name="Oval 104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7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80" name="Oval 79"/>
              <p:cNvSpPr/>
              <p:nvPr/>
            </p:nvSpPr>
            <p:spPr>
              <a:xfrm>
                <a:off x="11273865" y="4127326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1" name="Oval 80"/>
              <p:cNvSpPr/>
              <p:nvPr/>
            </p:nvSpPr>
            <p:spPr>
              <a:xfrm>
                <a:off x="10545821" y="4457906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2" name="Oval 81"/>
              <p:cNvSpPr/>
              <p:nvPr/>
            </p:nvSpPr>
            <p:spPr>
              <a:xfrm>
                <a:off x="10739111" y="4778511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3" name="Oval 82"/>
              <p:cNvSpPr/>
              <p:nvPr/>
            </p:nvSpPr>
            <p:spPr>
              <a:xfrm>
                <a:off x="10936920" y="5102324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4" name="Oval 83"/>
              <p:cNvSpPr/>
              <p:nvPr/>
            </p:nvSpPr>
            <p:spPr>
              <a:xfrm>
                <a:off x="11707992" y="426527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5" name="Oval 84"/>
              <p:cNvSpPr/>
              <p:nvPr/>
            </p:nvSpPr>
            <p:spPr>
              <a:xfrm>
                <a:off x="11957613" y="416105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6" name="Oval 85"/>
              <p:cNvSpPr/>
              <p:nvPr/>
            </p:nvSpPr>
            <p:spPr>
              <a:xfrm>
                <a:off x="11057753" y="5351715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7" name="Freeform: Shape 86"/>
              <p:cNvSpPr/>
              <p:nvPr/>
            </p:nvSpPr>
            <p:spPr>
              <a:xfrm rot="1859816">
                <a:off x="9942109" y="3114447"/>
                <a:ext cx="1657518" cy="3705100"/>
              </a:xfrm>
              <a:custGeom>
                <a:avLst/>
                <a:gdLst>
                  <a:gd name="connsiteX0" fmla="*/ 1226774 w 1394417"/>
                  <a:gd name="connsiteY0" fmla="*/ 0 h 3497943"/>
                  <a:gd name="connsiteX1" fmla="*/ 660717 w 1394417"/>
                  <a:gd name="connsiteY1" fmla="*/ 254000 h 3497943"/>
                  <a:gd name="connsiteX2" fmla="*/ 1299345 w 1394417"/>
                  <a:gd name="connsiteY2" fmla="*/ 635000 h 3497943"/>
                  <a:gd name="connsiteX3" fmla="*/ 317 w 1394417"/>
                  <a:gd name="connsiteY3" fmla="*/ 1157514 h 3497943"/>
                  <a:gd name="connsiteX4" fmla="*/ 1168717 w 1394417"/>
                  <a:gd name="connsiteY4" fmla="*/ 2028371 h 3497943"/>
                  <a:gd name="connsiteX5" fmla="*/ 504688 w 1394417"/>
                  <a:gd name="connsiteY5" fmla="*/ 2630714 h 3497943"/>
                  <a:gd name="connsiteX6" fmla="*/ 1379174 w 1394417"/>
                  <a:gd name="connsiteY6" fmla="*/ 3066143 h 3497943"/>
                  <a:gd name="connsiteX7" fmla="*/ 1081631 w 1394417"/>
                  <a:gd name="connsiteY7" fmla="*/ 3334657 h 3497943"/>
                  <a:gd name="connsiteX8" fmla="*/ 1357402 w 1394417"/>
                  <a:gd name="connsiteY8" fmla="*/ 3497943 h 3497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94417" h="3497943">
                    <a:moveTo>
                      <a:pt x="1226774" y="0"/>
                    </a:moveTo>
                    <a:cubicBezTo>
                      <a:pt x="937698" y="74083"/>
                      <a:pt x="648622" y="148167"/>
                      <a:pt x="660717" y="254000"/>
                    </a:cubicBezTo>
                    <a:cubicBezTo>
                      <a:pt x="672812" y="359833"/>
                      <a:pt x="1409412" y="484414"/>
                      <a:pt x="1299345" y="635000"/>
                    </a:cubicBezTo>
                    <a:cubicBezTo>
                      <a:pt x="1189278" y="785586"/>
                      <a:pt x="22088" y="925286"/>
                      <a:pt x="317" y="1157514"/>
                    </a:cubicBezTo>
                    <a:cubicBezTo>
                      <a:pt x="-21454" y="1389742"/>
                      <a:pt x="1084655" y="1782838"/>
                      <a:pt x="1168717" y="2028371"/>
                    </a:cubicBezTo>
                    <a:cubicBezTo>
                      <a:pt x="1252779" y="2273904"/>
                      <a:pt x="469612" y="2457752"/>
                      <a:pt x="504688" y="2630714"/>
                    </a:cubicBezTo>
                    <a:cubicBezTo>
                      <a:pt x="539764" y="2803676"/>
                      <a:pt x="1283017" y="2948819"/>
                      <a:pt x="1379174" y="3066143"/>
                    </a:cubicBezTo>
                    <a:cubicBezTo>
                      <a:pt x="1475331" y="3183467"/>
                      <a:pt x="1085260" y="3262690"/>
                      <a:pt x="1081631" y="3334657"/>
                    </a:cubicBezTo>
                    <a:cubicBezTo>
                      <a:pt x="1078002" y="3406624"/>
                      <a:pt x="1217702" y="3452283"/>
                      <a:pt x="1357402" y="349794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88" name="Group 87"/>
              <p:cNvGrpSpPr/>
              <p:nvPr/>
            </p:nvGrpSpPr>
            <p:grpSpPr>
              <a:xfrm>
                <a:off x="9659552" y="6255370"/>
                <a:ext cx="511804" cy="511804"/>
                <a:chOff x="3766458" y="4912364"/>
                <a:chExt cx="468086" cy="468086"/>
              </a:xfrm>
            </p:grpSpPr>
            <p:sp>
              <p:nvSpPr>
                <p:cNvPr id="100" name="Oval 99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1" name="Oval 100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2" name="Oval 101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6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89" name="Oval 88"/>
              <p:cNvSpPr/>
              <p:nvPr/>
            </p:nvSpPr>
            <p:spPr>
              <a:xfrm>
                <a:off x="10019476" y="3733781"/>
                <a:ext cx="45719" cy="45719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90" name="Group 89"/>
              <p:cNvGrpSpPr/>
              <p:nvPr/>
            </p:nvGrpSpPr>
            <p:grpSpPr>
              <a:xfrm rot="18900000" flipH="1">
                <a:off x="9997674" y="4364464"/>
                <a:ext cx="1590444" cy="3184396"/>
                <a:chOff x="1113971" y="3497757"/>
                <a:chExt cx="1150258" cy="3142530"/>
              </a:xfrm>
            </p:grpSpPr>
            <p:sp>
              <p:nvSpPr>
                <p:cNvPr id="96" name="Freeform: Shape 95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7" name="Freeform: Shape 96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8" name="Freeform: Shape 97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9" name="Freeform: Shape 98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91" name="Group 90"/>
              <p:cNvGrpSpPr/>
              <p:nvPr/>
            </p:nvGrpSpPr>
            <p:grpSpPr>
              <a:xfrm rot="7200000" flipH="1" flipV="1">
                <a:off x="10907040" y="2618587"/>
                <a:ext cx="1590444" cy="2242188"/>
                <a:chOff x="1113971" y="3497757"/>
                <a:chExt cx="1150258" cy="3142530"/>
              </a:xfrm>
            </p:grpSpPr>
            <p:sp>
              <p:nvSpPr>
                <p:cNvPr id="92" name="Freeform: Shape 91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3" name="Freeform: Shape 92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4" name="Freeform: Shape 93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5" name="Freeform: Shape 94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grpSp>
        <p:nvGrpSpPr>
          <p:cNvPr id="106" name="Group 105"/>
          <p:cNvGrpSpPr/>
          <p:nvPr userDrawn="1"/>
        </p:nvGrpSpPr>
        <p:grpSpPr>
          <a:xfrm>
            <a:off x="1476697" y="1517163"/>
            <a:ext cx="3599025" cy="1100078"/>
            <a:chOff x="5756093" y="2301512"/>
            <a:chExt cx="3899073" cy="1191791"/>
          </a:xfrm>
          <a:solidFill>
            <a:schemeClr val="bg1">
              <a:alpha val="30000"/>
            </a:schemeClr>
          </a:solidFill>
        </p:grpSpPr>
        <p:sp>
          <p:nvSpPr>
            <p:cNvPr id="107" name="Oval 106"/>
            <p:cNvSpPr/>
            <p:nvPr/>
          </p:nvSpPr>
          <p:spPr>
            <a:xfrm>
              <a:off x="8266386" y="2347545"/>
              <a:ext cx="254716" cy="254716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8" name="Oval 107"/>
            <p:cNvSpPr/>
            <p:nvPr/>
          </p:nvSpPr>
          <p:spPr>
            <a:xfrm>
              <a:off x="6326273" y="2776652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9" name="Oval 108"/>
            <p:cNvSpPr/>
            <p:nvPr/>
          </p:nvSpPr>
          <p:spPr>
            <a:xfrm>
              <a:off x="7275317" y="2569605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0" name="Oval 109"/>
            <p:cNvSpPr/>
            <p:nvPr/>
          </p:nvSpPr>
          <p:spPr>
            <a:xfrm>
              <a:off x="6676654" y="2855918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1" name="Oval 110"/>
            <p:cNvSpPr/>
            <p:nvPr/>
          </p:nvSpPr>
          <p:spPr>
            <a:xfrm>
              <a:off x="7021860" y="2762326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2" name="Oval 111"/>
            <p:cNvSpPr/>
            <p:nvPr/>
          </p:nvSpPr>
          <p:spPr>
            <a:xfrm>
              <a:off x="9150042" y="3113746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3" name="Oval 112"/>
            <p:cNvSpPr/>
            <p:nvPr/>
          </p:nvSpPr>
          <p:spPr>
            <a:xfrm>
              <a:off x="7521113" y="2409075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4" name="Oval 113"/>
            <p:cNvSpPr/>
            <p:nvPr/>
          </p:nvSpPr>
          <p:spPr>
            <a:xfrm>
              <a:off x="8821654" y="2895644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5" name="Oval 114"/>
            <p:cNvSpPr/>
            <p:nvPr/>
          </p:nvSpPr>
          <p:spPr>
            <a:xfrm>
              <a:off x="7911267" y="2301512"/>
              <a:ext cx="156013" cy="156013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6" name="Oval 115"/>
            <p:cNvSpPr/>
            <p:nvPr/>
          </p:nvSpPr>
          <p:spPr>
            <a:xfrm>
              <a:off x="8622432" y="2646039"/>
              <a:ext cx="156013" cy="156013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7" name="Oval 116"/>
            <p:cNvSpPr/>
            <p:nvPr/>
          </p:nvSpPr>
          <p:spPr>
            <a:xfrm>
              <a:off x="6046050" y="2698396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8" name="Oval 117"/>
            <p:cNvSpPr/>
            <p:nvPr/>
          </p:nvSpPr>
          <p:spPr>
            <a:xfrm>
              <a:off x="5756093" y="2768856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9" name="Oval 118"/>
            <p:cNvSpPr/>
            <p:nvPr/>
          </p:nvSpPr>
          <p:spPr>
            <a:xfrm>
              <a:off x="9364414" y="3258175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0" name="Oval 119"/>
            <p:cNvSpPr/>
            <p:nvPr/>
          </p:nvSpPr>
          <p:spPr>
            <a:xfrm>
              <a:off x="9609447" y="3447584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21" name="Group 120"/>
          <p:cNvGrpSpPr/>
          <p:nvPr userDrawn="1"/>
        </p:nvGrpSpPr>
        <p:grpSpPr>
          <a:xfrm rot="4480905">
            <a:off x="-193235" y="3476287"/>
            <a:ext cx="3437832" cy="4758449"/>
            <a:chOff x="9385524" y="2790411"/>
            <a:chExt cx="3437832" cy="4758449"/>
          </a:xfrm>
        </p:grpSpPr>
        <p:sp>
          <p:nvSpPr>
            <p:cNvPr id="122" name="Freeform: Shape 121"/>
            <p:cNvSpPr/>
            <p:nvPr/>
          </p:nvSpPr>
          <p:spPr>
            <a:xfrm rot="1859816">
              <a:off x="9385524" y="2790411"/>
              <a:ext cx="2012192" cy="3930693"/>
            </a:xfrm>
            <a:custGeom>
              <a:avLst/>
              <a:gdLst>
                <a:gd name="connsiteX0" fmla="*/ 1226774 w 1394417"/>
                <a:gd name="connsiteY0" fmla="*/ 0 h 3497943"/>
                <a:gd name="connsiteX1" fmla="*/ 660717 w 1394417"/>
                <a:gd name="connsiteY1" fmla="*/ 254000 h 3497943"/>
                <a:gd name="connsiteX2" fmla="*/ 1299345 w 1394417"/>
                <a:gd name="connsiteY2" fmla="*/ 635000 h 3497943"/>
                <a:gd name="connsiteX3" fmla="*/ 317 w 1394417"/>
                <a:gd name="connsiteY3" fmla="*/ 1157514 h 3497943"/>
                <a:gd name="connsiteX4" fmla="*/ 1168717 w 1394417"/>
                <a:gd name="connsiteY4" fmla="*/ 2028371 h 3497943"/>
                <a:gd name="connsiteX5" fmla="*/ 504688 w 1394417"/>
                <a:gd name="connsiteY5" fmla="*/ 2630714 h 3497943"/>
                <a:gd name="connsiteX6" fmla="*/ 1379174 w 1394417"/>
                <a:gd name="connsiteY6" fmla="*/ 3066143 h 3497943"/>
                <a:gd name="connsiteX7" fmla="*/ 1081631 w 1394417"/>
                <a:gd name="connsiteY7" fmla="*/ 3334657 h 3497943"/>
                <a:gd name="connsiteX8" fmla="*/ 1357402 w 1394417"/>
                <a:gd name="connsiteY8" fmla="*/ 3497943 h 3497943"/>
                <a:gd name="connsiteX0" fmla="*/ 1406051 w 1406051"/>
                <a:gd name="connsiteY0" fmla="*/ 0 h 3542949"/>
                <a:gd name="connsiteX1" fmla="*/ 660717 w 1406051"/>
                <a:gd name="connsiteY1" fmla="*/ 299006 h 3542949"/>
                <a:gd name="connsiteX2" fmla="*/ 1299345 w 1406051"/>
                <a:gd name="connsiteY2" fmla="*/ 680006 h 3542949"/>
                <a:gd name="connsiteX3" fmla="*/ 317 w 1406051"/>
                <a:gd name="connsiteY3" fmla="*/ 1202520 h 3542949"/>
                <a:gd name="connsiteX4" fmla="*/ 1168717 w 1406051"/>
                <a:gd name="connsiteY4" fmla="*/ 2073377 h 3542949"/>
                <a:gd name="connsiteX5" fmla="*/ 504688 w 1406051"/>
                <a:gd name="connsiteY5" fmla="*/ 2675720 h 3542949"/>
                <a:gd name="connsiteX6" fmla="*/ 1379174 w 1406051"/>
                <a:gd name="connsiteY6" fmla="*/ 3111149 h 3542949"/>
                <a:gd name="connsiteX7" fmla="*/ 1081631 w 1406051"/>
                <a:gd name="connsiteY7" fmla="*/ 3379663 h 3542949"/>
                <a:gd name="connsiteX8" fmla="*/ 1357402 w 1406051"/>
                <a:gd name="connsiteY8" fmla="*/ 3542949 h 3542949"/>
                <a:gd name="connsiteX0" fmla="*/ 1406051 w 1442185"/>
                <a:gd name="connsiteY0" fmla="*/ 0 h 3633781"/>
                <a:gd name="connsiteX1" fmla="*/ 660717 w 1442185"/>
                <a:gd name="connsiteY1" fmla="*/ 299006 h 3633781"/>
                <a:gd name="connsiteX2" fmla="*/ 1299345 w 1442185"/>
                <a:gd name="connsiteY2" fmla="*/ 680006 h 3633781"/>
                <a:gd name="connsiteX3" fmla="*/ 317 w 1442185"/>
                <a:gd name="connsiteY3" fmla="*/ 1202520 h 3633781"/>
                <a:gd name="connsiteX4" fmla="*/ 1168717 w 1442185"/>
                <a:gd name="connsiteY4" fmla="*/ 2073377 h 3633781"/>
                <a:gd name="connsiteX5" fmla="*/ 504688 w 1442185"/>
                <a:gd name="connsiteY5" fmla="*/ 2675720 h 3633781"/>
                <a:gd name="connsiteX6" fmla="*/ 1379174 w 1442185"/>
                <a:gd name="connsiteY6" fmla="*/ 3111149 h 3633781"/>
                <a:gd name="connsiteX7" fmla="*/ 1081631 w 1442185"/>
                <a:gd name="connsiteY7" fmla="*/ 3379663 h 3633781"/>
                <a:gd name="connsiteX8" fmla="*/ 1442185 w 1442185"/>
                <a:gd name="connsiteY8" fmla="*/ 3633781 h 363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2185" h="3633781">
                  <a:moveTo>
                    <a:pt x="1406051" y="0"/>
                  </a:moveTo>
                  <a:cubicBezTo>
                    <a:pt x="1116975" y="74083"/>
                    <a:pt x="678501" y="185672"/>
                    <a:pt x="660717" y="299006"/>
                  </a:cubicBezTo>
                  <a:cubicBezTo>
                    <a:pt x="642933" y="412340"/>
                    <a:pt x="1409412" y="529420"/>
                    <a:pt x="1299345" y="680006"/>
                  </a:cubicBezTo>
                  <a:cubicBezTo>
                    <a:pt x="1189278" y="830592"/>
                    <a:pt x="22088" y="970292"/>
                    <a:pt x="317" y="1202520"/>
                  </a:cubicBezTo>
                  <a:cubicBezTo>
                    <a:pt x="-21454" y="1434748"/>
                    <a:pt x="1084655" y="1827844"/>
                    <a:pt x="1168717" y="2073377"/>
                  </a:cubicBezTo>
                  <a:cubicBezTo>
                    <a:pt x="1252779" y="2318910"/>
                    <a:pt x="469612" y="2502758"/>
                    <a:pt x="504688" y="2675720"/>
                  </a:cubicBezTo>
                  <a:cubicBezTo>
                    <a:pt x="539764" y="2848682"/>
                    <a:pt x="1283017" y="2993825"/>
                    <a:pt x="1379174" y="3111149"/>
                  </a:cubicBezTo>
                  <a:cubicBezTo>
                    <a:pt x="1475331" y="3228473"/>
                    <a:pt x="1071129" y="3292558"/>
                    <a:pt x="1081631" y="3379663"/>
                  </a:cubicBezTo>
                  <a:cubicBezTo>
                    <a:pt x="1092133" y="3466768"/>
                    <a:pt x="1302485" y="3588121"/>
                    <a:pt x="1442185" y="3633781"/>
                  </a:cubicBezTo>
                </a:path>
              </a:pathLst>
            </a:custGeom>
            <a:noFill/>
            <a:ln>
              <a:solidFill>
                <a:schemeClr val="bg1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grpSp>
          <p:nvGrpSpPr>
            <p:cNvPr id="123" name="Group 122"/>
            <p:cNvGrpSpPr/>
            <p:nvPr/>
          </p:nvGrpSpPr>
          <p:grpSpPr>
            <a:xfrm>
              <a:off x="9659552" y="2944459"/>
              <a:ext cx="3163804" cy="4604401"/>
              <a:chOff x="9659552" y="2944459"/>
              <a:chExt cx="3163804" cy="4604401"/>
            </a:xfrm>
          </p:grpSpPr>
          <p:sp>
            <p:nvSpPr>
              <p:cNvPr id="124" name="Oval 123"/>
              <p:cNvSpPr/>
              <p:nvPr/>
            </p:nvSpPr>
            <p:spPr>
              <a:xfrm>
                <a:off x="10823866" y="3987711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25" name="Group 124"/>
              <p:cNvGrpSpPr/>
              <p:nvPr/>
            </p:nvGrpSpPr>
            <p:grpSpPr>
              <a:xfrm>
                <a:off x="10171356" y="3779500"/>
                <a:ext cx="468086" cy="468086"/>
                <a:chOff x="3766458" y="4912364"/>
                <a:chExt cx="468086" cy="468086"/>
              </a:xfrm>
            </p:grpSpPr>
            <p:sp>
              <p:nvSpPr>
                <p:cNvPr id="149" name="Oval 148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0" name="Oval 149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1" name="Oval 150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7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26" name="Oval 125"/>
              <p:cNvSpPr/>
              <p:nvPr/>
            </p:nvSpPr>
            <p:spPr>
              <a:xfrm>
                <a:off x="11273865" y="4127326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7" name="Oval 126"/>
              <p:cNvSpPr/>
              <p:nvPr/>
            </p:nvSpPr>
            <p:spPr>
              <a:xfrm>
                <a:off x="10545821" y="4457906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8" name="Oval 127"/>
              <p:cNvSpPr/>
              <p:nvPr/>
            </p:nvSpPr>
            <p:spPr>
              <a:xfrm>
                <a:off x="10739111" y="4778511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9" name="Oval 128"/>
              <p:cNvSpPr/>
              <p:nvPr/>
            </p:nvSpPr>
            <p:spPr>
              <a:xfrm>
                <a:off x="10936920" y="5102324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0" name="Oval 129"/>
              <p:cNvSpPr/>
              <p:nvPr/>
            </p:nvSpPr>
            <p:spPr>
              <a:xfrm>
                <a:off x="11707992" y="426527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1" name="Oval 130"/>
              <p:cNvSpPr/>
              <p:nvPr/>
            </p:nvSpPr>
            <p:spPr>
              <a:xfrm>
                <a:off x="11957613" y="416105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2" name="Oval 131"/>
              <p:cNvSpPr/>
              <p:nvPr/>
            </p:nvSpPr>
            <p:spPr>
              <a:xfrm>
                <a:off x="11057753" y="5351715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3" name="Freeform: Shape 132"/>
              <p:cNvSpPr/>
              <p:nvPr/>
            </p:nvSpPr>
            <p:spPr>
              <a:xfrm rot="1859816">
                <a:off x="9986645" y="3126797"/>
                <a:ext cx="1657518" cy="3532144"/>
              </a:xfrm>
              <a:custGeom>
                <a:avLst/>
                <a:gdLst>
                  <a:gd name="connsiteX0" fmla="*/ 1226774 w 1394417"/>
                  <a:gd name="connsiteY0" fmla="*/ 0 h 3497943"/>
                  <a:gd name="connsiteX1" fmla="*/ 660717 w 1394417"/>
                  <a:gd name="connsiteY1" fmla="*/ 254000 h 3497943"/>
                  <a:gd name="connsiteX2" fmla="*/ 1299345 w 1394417"/>
                  <a:gd name="connsiteY2" fmla="*/ 635000 h 3497943"/>
                  <a:gd name="connsiteX3" fmla="*/ 317 w 1394417"/>
                  <a:gd name="connsiteY3" fmla="*/ 1157514 h 3497943"/>
                  <a:gd name="connsiteX4" fmla="*/ 1168717 w 1394417"/>
                  <a:gd name="connsiteY4" fmla="*/ 2028371 h 3497943"/>
                  <a:gd name="connsiteX5" fmla="*/ 504688 w 1394417"/>
                  <a:gd name="connsiteY5" fmla="*/ 2630714 h 3497943"/>
                  <a:gd name="connsiteX6" fmla="*/ 1379174 w 1394417"/>
                  <a:gd name="connsiteY6" fmla="*/ 3066143 h 3497943"/>
                  <a:gd name="connsiteX7" fmla="*/ 1081631 w 1394417"/>
                  <a:gd name="connsiteY7" fmla="*/ 3334657 h 3497943"/>
                  <a:gd name="connsiteX8" fmla="*/ 1357402 w 1394417"/>
                  <a:gd name="connsiteY8" fmla="*/ 3497943 h 3497943"/>
                  <a:gd name="connsiteX0" fmla="*/ 1226774 w 1394417"/>
                  <a:gd name="connsiteY0" fmla="*/ 0 h 3334657"/>
                  <a:gd name="connsiteX1" fmla="*/ 660717 w 1394417"/>
                  <a:gd name="connsiteY1" fmla="*/ 254000 h 3334657"/>
                  <a:gd name="connsiteX2" fmla="*/ 1299345 w 1394417"/>
                  <a:gd name="connsiteY2" fmla="*/ 635000 h 3334657"/>
                  <a:gd name="connsiteX3" fmla="*/ 317 w 1394417"/>
                  <a:gd name="connsiteY3" fmla="*/ 1157514 h 3334657"/>
                  <a:gd name="connsiteX4" fmla="*/ 1168717 w 1394417"/>
                  <a:gd name="connsiteY4" fmla="*/ 2028371 h 3334657"/>
                  <a:gd name="connsiteX5" fmla="*/ 504688 w 1394417"/>
                  <a:gd name="connsiteY5" fmla="*/ 2630714 h 3334657"/>
                  <a:gd name="connsiteX6" fmla="*/ 1379174 w 1394417"/>
                  <a:gd name="connsiteY6" fmla="*/ 3066143 h 3334657"/>
                  <a:gd name="connsiteX7" fmla="*/ 1081631 w 1394417"/>
                  <a:gd name="connsiteY7" fmla="*/ 3334657 h 3334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4417" h="3334657">
                    <a:moveTo>
                      <a:pt x="1226774" y="0"/>
                    </a:moveTo>
                    <a:cubicBezTo>
                      <a:pt x="937698" y="74083"/>
                      <a:pt x="648622" y="148167"/>
                      <a:pt x="660717" y="254000"/>
                    </a:cubicBezTo>
                    <a:cubicBezTo>
                      <a:pt x="672812" y="359833"/>
                      <a:pt x="1409412" y="484414"/>
                      <a:pt x="1299345" y="635000"/>
                    </a:cubicBezTo>
                    <a:cubicBezTo>
                      <a:pt x="1189278" y="785586"/>
                      <a:pt x="22088" y="925286"/>
                      <a:pt x="317" y="1157514"/>
                    </a:cubicBezTo>
                    <a:cubicBezTo>
                      <a:pt x="-21454" y="1389742"/>
                      <a:pt x="1084655" y="1782838"/>
                      <a:pt x="1168717" y="2028371"/>
                    </a:cubicBezTo>
                    <a:cubicBezTo>
                      <a:pt x="1252779" y="2273904"/>
                      <a:pt x="469612" y="2457752"/>
                      <a:pt x="504688" y="2630714"/>
                    </a:cubicBezTo>
                    <a:cubicBezTo>
                      <a:pt x="539764" y="2803676"/>
                      <a:pt x="1283017" y="2948819"/>
                      <a:pt x="1379174" y="3066143"/>
                    </a:cubicBezTo>
                    <a:cubicBezTo>
                      <a:pt x="1475331" y="3183467"/>
                      <a:pt x="1085260" y="3262690"/>
                      <a:pt x="1081631" y="3334657"/>
                    </a:cubicBezTo>
                  </a:path>
                </a:pathLst>
              </a:custGeom>
              <a:noFill/>
              <a:ln>
                <a:solidFill>
                  <a:schemeClr val="bg1">
                    <a:alpha val="5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34" name="Group 133"/>
              <p:cNvGrpSpPr/>
              <p:nvPr/>
            </p:nvGrpSpPr>
            <p:grpSpPr>
              <a:xfrm>
                <a:off x="9659552" y="6255370"/>
                <a:ext cx="511804" cy="511804"/>
                <a:chOff x="3766458" y="4912364"/>
                <a:chExt cx="468086" cy="468086"/>
              </a:xfrm>
            </p:grpSpPr>
            <p:sp>
              <p:nvSpPr>
                <p:cNvPr id="146" name="Oval 145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7" name="Oval 146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8" name="Oval 147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6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35" name="Oval 134"/>
              <p:cNvSpPr/>
              <p:nvPr/>
            </p:nvSpPr>
            <p:spPr>
              <a:xfrm>
                <a:off x="10019476" y="3733781"/>
                <a:ext cx="45719" cy="45719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36" name="Group 135"/>
              <p:cNvGrpSpPr/>
              <p:nvPr/>
            </p:nvGrpSpPr>
            <p:grpSpPr>
              <a:xfrm rot="18900000" flipH="1">
                <a:off x="9997674" y="4364464"/>
                <a:ext cx="1590444" cy="3184396"/>
                <a:chOff x="1113971" y="3497757"/>
                <a:chExt cx="1150258" cy="3142530"/>
              </a:xfrm>
            </p:grpSpPr>
            <p:sp>
              <p:nvSpPr>
                <p:cNvPr id="142" name="Freeform: Shape 141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3" name="Freeform: Shape 142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4" name="Freeform: Shape 143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5" name="Freeform: Shape 144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37" name="Group 136"/>
              <p:cNvGrpSpPr/>
              <p:nvPr/>
            </p:nvGrpSpPr>
            <p:grpSpPr>
              <a:xfrm rot="7200000" flipH="1" flipV="1">
                <a:off x="10907040" y="2618587"/>
                <a:ext cx="1590444" cy="2242188"/>
                <a:chOff x="1113971" y="3497757"/>
                <a:chExt cx="1150258" cy="3142530"/>
              </a:xfrm>
            </p:grpSpPr>
            <p:sp>
              <p:nvSpPr>
                <p:cNvPr id="138" name="Freeform: Shape 137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9" name="Freeform: Shape 138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0" name="Freeform: Shape 139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1" name="Freeform: Shape 140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grpSp>
        <p:nvGrpSpPr>
          <p:cNvPr id="152" name="Group 151"/>
          <p:cNvGrpSpPr/>
          <p:nvPr userDrawn="1"/>
        </p:nvGrpSpPr>
        <p:grpSpPr>
          <a:xfrm rot="21444120" flipH="1">
            <a:off x="10234111" y="-501857"/>
            <a:ext cx="2326374" cy="4134470"/>
            <a:chOff x="-213066" y="2126266"/>
            <a:chExt cx="2326374" cy="4134470"/>
          </a:xfrm>
        </p:grpSpPr>
        <p:grpSp>
          <p:nvGrpSpPr>
            <p:cNvPr id="153" name="Group 152"/>
            <p:cNvGrpSpPr/>
            <p:nvPr/>
          </p:nvGrpSpPr>
          <p:grpSpPr>
            <a:xfrm rot="5400000">
              <a:off x="-1021470" y="3125958"/>
              <a:ext cx="4134470" cy="2135086"/>
              <a:chOff x="2108201" y="5087492"/>
              <a:chExt cx="4484244" cy="2408425"/>
            </a:xfrm>
          </p:grpSpPr>
          <p:sp>
            <p:nvSpPr>
              <p:cNvPr id="159" name="Freeform: Shape 158"/>
              <p:cNvSpPr/>
              <p:nvPr/>
            </p:nvSpPr>
            <p:spPr>
              <a:xfrm>
                <a:off x="2108202" y="5087492"/>
                <a:ext cx="4484243" cy="2291402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625100"/>
                  <a:gd name="connsiteY0" fmla="*/ 1190184 h 2687163"/>
                  <a:gd name="connsiteX1" fmla="*/ 765628 w 6625100"/>
                  <a:gd name="connsiteY1" fmla="*/ 1865099 h 2687163"/>
                  <a:gd name="connsiteX2" fmla="*/ 1531257 w 6625100"/>
                  <a:gd name="connsiteY2" fmla="*/ 13 h 2687163"/>
                  <a:gd name="connsiteX3" fmla="*/ 2140857 w 6625100"/>
                  <a:gd name="connsiteY3" fmla="*/ 1897756 h 2687163"/>
                  <a:gd name="connsiteX4" fmla="*/ 2804886 w 6625100"/>
                  <a:gd name="connsiteY4" fmla="*/ 801927 h 2687163"/>
                  <a:gd name="connsiteX5" fmla="*/ 3291114 w 6625100"/>
                  <a:gd name="connsiteY5" fmla="*/ 1846956 h 2687163"/>
                  <a:gd name="connsiteX6" fmla="*/ 3755571 w 6625100"/>
                  <a:gd name="connsiteY6" fmla="*/ 1273641 h 2687163"/>
                  <a:gd name="connsiteX7" fmla="*/ 4071257 w 6625100"/>
                  <a:gd name="connsiteY7" fmla="*/ 1763499 h 2687163"/>
                  <a:gd name="connsiteX8" fmla="*/ 4466771 w 6625100"/>
                  <a:gd name="connsiteY8" fmla="*/ 399156 h 2687163"/>
                  <a:gd name="connsiteX9" fmla="*/ 4858657 w 6625100"/>
                  <a:gd name="connsiteY9" fmla="*/ 1357099 h 2687163"/>
                  <a:gd name="connsiteX10" fmla="*/ 5148943 w 6625100"/>
                  <a:gd name="connsiteY10" fmla="*/ 747499 h 2687163"/>
                  <a:gd name="connsiteX11" fmla="*/ 5588000 w 6625100"/>
                  <a:gd name="connsiteY11" fmla="*/ 1886870 h 2687163"/>
                  <a:gd name="connsiteX12" fmla="*/ 6074228 w 6625100"/>
                  <a:gd name="connsiteY12" fmla="*/ 928927 h 2687163"/>
                  <a:gd name="connsiteX13" fmla="*/ 6625100 w 6625100"/>
                  <a:gd name="connsiteY13" fmla="*/ 2687163 h 2687163"/>
                  <a:gd name="connsiteX0" fmla="*/ 0 w 5859472"/>
                  <a:gd name="connsiteY0" fmla="*/ 1865099 h 2687163"/>
                  <a:gd name="connsiteX1" fmla="*/ 765629 w 5859472"/>
                  <a:gd name="connsiteY1" fmla="*/ 13 h 2687163"/>
                  <a:gd name="connsiteX2" fmla="*/ 1375229 w 5859472"/>
                  <a:gd name="connsiteY2" fmla="*/ 1897756 h 2687163"/>
                  <a:gd name="connsiteX3" fmla="*/ 2039258 w 5859472"/>
                  <a:gd name="connsiteY3" fmla="*/ 801927 h 2687163"/>
                  <a:gd name="connsiteX4" fmla="*/ 2525486 w 5859472"/>
                  <a:gd name="connsiteY4" fmla="*/ 1846956 h 2687163"/>
                  <a:gd name="connsiteX5" fmla="*/ 2989943 w 5859472"/>
                  <a:gd name="connsiteY5" fmla="*/ 1273641 h 2687163"/>
                  <a:gd name="connsiteX6" fmla="*/ 3305629 w 5859472"/>
                  <a:gd name="connsiteY6" fmla="*/ 1763499 h 2687163"/>
                  <a:gd name="connsiteX7" fmla="*/ 3701143 w 5859472"/>
                  <a:gd name="connsiteY7" fmla="*/ 399156 h 2687163"/>
                  <a:gd name="connsiteX8" fmla="*/ 4093029 w 5859472"/>
                  <a:gd name="connsiteY8" fmla="*/ 1357099 h 2687163"/>
                  <a:gd name="connsiteX9" fmla="*/ 4383315 w 5859472"/>
                  <a:gd name="connsiteY9" fmla="*/ 747499 h 2687163"/>
                  <a:gd name="connsiteX10" fmla="*/ 4822372 w 5859472"/>
                  <a:gd name="connsiteY10" fmla="*/ 1886870 h 2687163"/>
                  <a:gd name="connsiteX11" fmla="*/ 5308600 w 5859472"/>
                  <a:gd name="connsiteY11" fmla="*/ 928927 h 2687163"/>
                  <a:gd name="connsiteX12" fmla="*/ 5859472 w 5859472"/>
                  <a:gd name="connsiteY12" fmla="*/ 2687163 h 2687163"/>
                  <a:gd name="connsiteX0" fmla="*/ -1 w 5093842"/>
                  <a:gd name="connsiteY0" fmla="*/ -1 h 2687149"/>
                  <a:gd name="connsiteX1" fmla="*/ 609599 w 5093842"/>
                  <a:gd name="connsiteY1" fmla="*/ 1897742 h 2687149"/>
                  <a:gd name="connsiteX2" fmla="*/ 1273628 w 5093842"/>
                  <a:gd name="connsiteY2" fmla="*/ 801913 h 2687149"/>
                  <a:gd name="connsiteX3" fmla="*/ 1759856 w 5093842"/>
                  <a:gd name="connsiteY3" fmla="*/ 1846942 h 2687149"/>
                  <a:gd name="connsiteX4" fmla="*/ 2224313 w 5093842"/>
                  <a:gd name="connsiteY4" fmla="*/ 1273627 h 2687149"/>
                  <a:gd name="connsiteX5" fmla="*/ 2539999 w 5093842"/>
                  <a:gd name="connsiteY5" fmla="*/ 1763485 h 2687149"/>
                  <a:gd name="connsiteX6" fmla="*/ 2935513 w 5093842"/>
                  <a:gd name="connsiteY6" fmla="*/ 399142 h 2687149"/>
                  <a:gd name="connsiteX7" fmla="*/ 3327399 w 5093842"/>
                  <a:gd name="connsiteY7" fmla="*/ 1357085 h 2687149"/>
                  <a:gd name="connsiteX8" fmla="*/ 3617685 w 5093842"/>
                  <a:gd name="connsiteY8" fmla="*/ 747485 h 2687149"/>
                  <a:gd name="connsiteX9" fmla="*/ 4056742 w 5093842"/>
                  <a:gd name="connsiteY9" fmla="*/ 1886856 h 2687149"/>
                  <a:gd name="connsiteX10" fmla="*/ 4542970 w 5093842"/>
                  <a:gd name="connsiteY10" fmla="*/ 928913 h 2687149"/>
                  <a:gd name="connsiteX11" fmla="*/ 5093842 w 5093842"/>
                  <a:gd name="connsiteY11" fmla="*/ 2687149 h 2687149"/>
                  <a:gd name="connsiteX0" fmla="*/ 0 w 4484243"/>
                  <a:gd name="connsiteY0" fmla="*/ 1501995 h 2291402"/>
                  <a:gd name="connsiteX1" fmla="*/ 664029 w 4484243"/>
                  <a:gd name="connsiteY1" fmla="*/ 406166 h 2291402"/>
                  <a:gd name="connsiteX2" fmla="*/ 1150257 w 4484243"/>
                  <a:gd name="connsiteY2" fmla="*/ 1451195 h 2291402"/>
                  <a:gd name="connsiteX3" fmla="*/ 1614714 w 4484243"/>
                  <a:gd name="connsiteY3" fmla="*/ 877880 h 2291402"/>
                  <a:gd name="connsiteX4" fmla="*/ 1930400 w 4484243"/>
                  <a:gd name="connsiteY4" fmla="*/ 1367738 h 2291402"/>
                  <a:gd name="connsiteX5" fmla="*/ 2325914 w 4484243"/>
                  <a:gd name="connsiteY5" fmla="*/ 3395 h 2291402"/>
                  <a:gd name="connsiteX6" fmla="*/ 2717800 w 4484243"/>
                  <a:gd name="connsiteY6" fmla="*/ 961338 h 2291402"/>
                  <a:gd name="connsiteX7" fmla="*/ 3008086 w 4484243"/>
                  <a:gd name="connsiteY7" fmla="*/ 351738 h 2291402"/>
                  <a:gd name="connsiteX8" fmla="*/ 3447143 w 4484243"/>
                  <a:gd name="connsiteY8" fmla="*/ 1491109 h 2291402"/>
                  <a:gd name="connsiteX9" fmla="*/ 3933371 w 4484243"/>
                  <a:gd name="connsiteY9" fmla="*/ 533166 h 2291402"/>
                  <a:gd name="connsiteX10" fmla="*/ 4484243 w 4484243"/>
                  <a:gd name="connsiteY10" fmla="*/ 2291402 h 2291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84243" h="2291402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60521" y="399784"/>
                      <a:pt x="3933371" y="533166"/>
                    </a:cubicBezTo>
                    <a:cubicBezTo>
                      <a:pt x="4106221" y="666548"/>
                      <a:pt x="4335773" y="1647633"/>
                      <a:pt x="4484243" y="2291402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60" name="Freeform: Shape 159"/>
              <p:cNvSpPr/>
              <p:nvPr/>
            </p:nvSpPr>
            <p:spPr>
              <a:xfrm>
                <a:off x="2108202" y="5531345"/>
                <a:ext cx="4445322" cy="1864309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86180"/>
                  <a:gd name="connsiteY0" fmla="*/ 1190184 h 2518602"/>
                  <a:gd name="connsiteX1" fmla="*/ 765628 w 6586180"/>
                  <a:gd name="connsiteY1" fmla="*/ 1865099 h 2518602"/>
                  <a:gd name="connsiteX2" fmla="*/ 1531257 w 6586180"/>
                  <a:gd name="connsiteY2" fmla="*/ 13 h 2518602"/>
                  <a:gd name="connsiteX3" fmla="*/ 2140857 w 6586180"/>
                  <a:gd name="connsiteY3" fmla="*/ 1897756 h 2518602"/>
                  <a:gd name="connsiteX4" fmla="*/ 2804886 w 6586180"/>
                  <a:gd name="connsiteY4" fmla="*/ 801927 h 2518602"/>
                  <a:gd name="connsiteX5" fmla="*/ 3291114 w 6586180"/>
                  <a:gd name="connsiteY5" fmla="*/ 1846956 h 2518602"/>
                  <a:gd name="connsiteX6" fmla="*/ 3755571 w 6586180"/>
                  <a:gd name="connsiteY6" fmla="*/ 1273641 h 2518602"/>
                  <a:gd name="connsiteX7" fmla="*/ 4071257 w 6586180"/>
                  <a:gd name="connsiteY7" fmla="*/ 1763499 h 2518602"/>
                  <a:gd name="connsiteX8" fmla="*/ 4466771 w 6586180"/>
                  <a:gd name="connsiteY8" fmla="*/ 399156 h 2518602"/>
                  <a:gd name="connsiteX9" fmla="*/ 4858657 w 6586180"/>
                  <a:gd name="connsiteY9" fmla="*/ 1357099 h 2518602"/>
                  <a:gd name="connsiteX10" fmla="*/ 5148943 w 6586180"/>
                  <a:gd name="connsiteY10" fmla="*/ 747499 h 2518602"/>
                  <a:gd name="connsiteX11" fmla="*/ 5588000 w 6586180"/>
                  <a:gd name="connsiteY11" fmla="*/ 1886870 h 2518602"/>
                  <a:gd name="connsiteX12" fmla="*/ 6074228 w 6586180"/>
                  <a:gd name="connsiteY12" fmla="*/ 928927 h 2518602"/>
                  <a:gd name="connsiteX13" fmla="*/ 6586180 w 6586180"/>
                  <a:gd name="connsiteY13" fmla="*/ 2518602 h 2518602"/>
                  <a:gd name="connsiteX0" fmla="*/ 0 w 5820552"/>
                  <a:gd name="connsiteY0" fmla="*/ 1865099 h 2518602"/>
                  <a:gd name="connsiteX1" fmla="*/ 765629 w 5820552"/>
                  <a:gd name="connsiteY1" fmla="*/ 13 h 2518602"/>
                  <a:gd name="connsiteX2" fmla="*/ 1375229 w 5820552"/>
                  <a:gd name="connsiteY2" fmla="*/ 1897756 h 2518602"/>
                  <a:gd name="connsiteX3" fmla="*/ 2039258 w 5820552"/>
                  <a:gd name="connsiteY3" fmla="*/ 801927 h 2518602"/>
                  <a:gd name="connsiteX4" fmla="*/ 2525486 w 5820552"/>
                  <a:gd name="connsiteY4" fmla="*/ 1846956 h 2518602"/>
                  <a:gd name="connsiteX5" fmla="*/ 2989943 w 5820552"/>
                  <a:gd name="connsiteY5" fmla="*/ 1273641 h 2518602"/>
                  <a:gd name="connsiteX6" fmla="*/ 3305629 w 5820552"/>
                  <a:gd name="connsiteY6" fmla="*/ 1763499 h 2518602"/>
                  <a:gd name="connsiteX7" fmla="*/ 3701143 w 5820552"/>
                  <a:gd name="connsiteY7" fmla="*/ 399156 h 2518602"/>
                  <a:gd name="connsiteX8" fmla="*/ 4093029 w 5820552"/>
                  <a:gd name="connsiteY8" fmla="*/ 1357099 h 2518602"/>
                  <a:gd name="connsiteX9" fmla="*/ 4383315 w 5820552"/>
                  <a:gd name="connsiteY9" fmla="*/ 747499 h 2518602"/>
                  <a:gd name="connsiteX10" fmla="*/ 4822372 w 5820552"/>
                  <a:gd name="connsiteY10" fmla="*/ 1886870 h 2518602"/>
                  <a:gd name="connsiteX11" fmla="*/ 5308600 w 5820552"/>
                  <a:gd name="connsiteY11" fmla="*/ 928927 h 2518602"/>
                  <a:gd name="connsiteX12" fmla="*/ 5820552 w 5820552"/>
                  <a:gd name="connsiteY12" fmla="*/ 2518602 h 2518602"/>
                  <a:gd name="connsiteX0" fmla="*/ 0 w 5054923"/>
                  <a:gd name="connsiteY0" fmla="*/ 0 h 2518589"/>
                  <a:gd name="connsiteX1" fmla="*/ 609600 w 5054923"/>
                  <a:gd name="connsiteY1" fmla="*/ 1897743 h 2518589"/>
                  <a:gd name="connsiteX2" fmla="*/ 1273629 w 5054923"/>
                  <a:gd name="connsiteY2" fmla="*/ 801914 h 2518589"/>
                  <a:gd name="connsiteX3" fmla="*/ 1759857 w 5054923"/>
                  <a:gd name="connsiteY3" fmla="*/ 1846943 h 2518589"/>
                  <a:gd name="connsiteX4" fmla="*/ 2224314 w 5054923"/>
                  <a:gd name="connsiteY4" fmla="*/ 1273628 h 2518589"/>
                  <a:gd name="connsiteX5" fmla="*/ 2540000 w 5054923"/>
                  <a:gd name="connsiteY5" fmla="*/ 1763486 h 2518589"/>
                  <a:gd name="connsiteX6" fmla="*/ 2935514 w 5054923"/>
                  <a:gd name="connsiteY6" fmla="*/ 399143 h 2518589"/>
                  <a:gd name="connsiteX7" fmla="*/ 3327400 w 5054923"/>
                  <a:gd name="connsiteY7" fmla="*/ 1357086 h 2518589"/>
                  <a:gd name="connsiteX8" fmla="*/ 3617686 w 5054923"/>
                  <a:gd name="connsiteY8" fmla="*/ 747486 h 2518589"/>
                  <a:gd name="connsiteX9" fmla="*/ 4056743 w 5054923"/>
                  <a:gd name="connsiteY9" fmla="*/ 1886857 h 2518589"/>
                  <a:gd name="connsiteX10" fmla="*/ 4542971 w 5054923"/>
                  <a:gd name="connsiteY10" fmla="*/ 928914 h 2518589"/>
                  <a:gd name="connsiteX11" fmla="*/ 5054923 w 5054923"/>
                  <a:gd name="connsiteY11" fmla="*/ 2518589 h 2518589"/>
                  <a:gd name="connsiteX0" fmla="*/ 0 w 4445323"/>
                  <a:gd name="connsiteY0" fmla="*/ 1501995 h 2122841"/>
                  <a:gd name="connsiteX1" fmla="*/ 664029 w 4445323"/>
                  <a:gd name="connsiteY1" fmla="*/ 406166 h 2122841"/>
                  <a:gd name="connsiteX2" fmla="*/ 1150257 w 4445323"/>
                  <a:gd name="connsiteY2" fmla="*/ 1451195 h 2122841"/>
                  <a:gd name="connsiteX3" fmla="*/ 1614714 w 4445323"/>
                  <a:gd name="connsiteY3" fmla="*/ 877880 h 2122841"/>
                  <a:gd name="connsiteX4" fmla="*/ 1930400 w 4445323"/>
                  <a:gd name="connsiteY4" fmla="*/ 1367738 h 2122841"/>
                  <a:gd name="connsiteX5" fmla="*/ 2325914 w 4445323"/>
                  <a:gd name="connsiteY5" fmla="*/ 3395 h 2122841"/>
                  <a:gd name="connsiteX6" fmla="*/ 2717800 w 4445323"/>
                  <a:gd name="connsiteY6" fmla="*/ 961338 h 2122841"/>
                  <a:gd name="connsiteX7" fmla="*/ 3008086 w 4445323"/>
                  <a:gd name="connsiteY7" fmla="*/ 351738 h 2122841"/>
                  <a:gd name="connsiteX8" fmla="*/ 3447143 w 4445323"/>
                  <a:gd name="connsiteY8" fmla="*/ 1491109 h 2122841"/>
                  <a:gd name="connsiteX9" fmla="*/ 3933371 w 4445323"/>
                  <a:gd name="connsiteY9" fmla="*/ 533166 h 2122841"/>
                  <a:gd name="connsiteX10" fmla="*/ 4445323 w 4445323"/>
                  <a:gd name="connsiteY10" fmla="*/ 2122841 h 212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45323" h="2122841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67008" y="427877"/>
                      <a:pt x="3933371" y="533166"/>
                    </a:cubicBezTo>
                    <a:cubicBezTo>
                      <a:pt x="4099734" y="638455"/>
                      <a:pt x="4296853" y="1479072"/>
                      <a:pt x="4445323" y="2122841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61" name="Freeform: Shape 160"/>
              <p:cNvSpPr/>
              <p:nvPr/>
            </p:nvSpPr>
            <p:spPr>
              <a:xfrm>
                <a:off x="2108201" y="6195930"/>
                <a:ext cx="4386943" cy="1220173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0 w 4996543"/>
                  <a:gd name="connsiteY0" fmla="*/ 1 h 2282372"/>
                  <a:gd name="connsiteX1" fmla="*/ 609600 w 4996543"/>
                  <a:gd name="connsiteY1" fmla="*/ 1897744 h 2282372"/>
                  <a:gd name="connsiteX2" fmla="*/ 1273629 w 4996543"/>
                  <a:gd name="connsiteY2" fmla="*/ 801915 h 2282372"/>
                  <a:gd name="connsiteX3" fmla="*/ 1759857 w 4996543"/>
                  <a:gd name="connsiteY3" fmla="*/ 1846944 h 2282372"/>
                  <a:gd name="connsiteX4" fmla="*/ 2224314 w 4996543"/>
                  <a:gd name="connsiteY4" fmla="*/ 1273629 h 2282372"/>
                  <a:gd name="connsiteX5" fmla="*/ 2540000 w 4996543"/>
                  <a:gd name="connsiteY5" fmla="*/ 1763487 h 2282372"/>
                  <a:gd name="connsiteX6" fmla="*/ 2935514 w 4996543"/>
                  <a:gd name="connsiteY6" fmla="*/ 399144 h 2282372"/>
                  <a:gd name="connsiteX7" fmla="*/ 3327400 w 4996543"/>
                  <a:gd name="connsiteY7" fmla="*/ 1357087 h 2282372"/>
                  <a:gd name="connsiteX8" fmla="*/ 3617686 w 4996543"/>
                  <a:gd name="connsiteY8" fmla="*/ 747487 h 2282372"/>
                  <a:gd name="connsiteX9" fmla="*/ 4056743 w 4996543"/>
                  <a:gd name="connsiteY9" fmla="*/ 1886858 h 2282372"/>
                  <a:gd name="connsiteX10" fmla="*/ 4542971 w 4996543"/>
                  <a:gd name="connsiteY10" fmla="*/ 928915 h 2282372"/>
                  <a:gd name="connsiteX11" fmla="*/ 4996543 w 4996543"/>
                  <a:gd name="connsiteY11" fmla="*/ 2282372 h 2282372"/>
                  <a:gd name="connsiteX0" fmla="*/ 0 w 4386943"/>
                  <a:gd name="connsiteY0" fmla="*/ 1501995 h 1886623"/>
                  <a:gd name="connsiteX1" fmla="*/ 664029 w 4386943"/>
                  <a:gd name="connsiteY1" fmla="*/ 406166 h 1886623"/>
                  <a:gd name="connsiteX2" fmla="*/ 1150257 w 4386943"/>
                  <a:gd name="connsiteY2" fmla="*/ 1451195 h 1886623"/>
                  <a:gd name="connsiteX3" fmla="*/ 1614714 w 4386943"/>
                  <a:gd name="connsiteY3" fmla="*/ 877880 h 1886623"/>
                  <a:gd name="connsiteX4" fmla="*/ 1930400 w 4386943"/>
                  <a:gd name="connsiteY4" fmla="*/ 1367738 h 1886623"/>
                  <a:gd name="connsiteX5" fmla="*/ 2325914 w 4386943"/>
                  <a:gd name="connsiteY5" fmla="*/ 3395 h 1886623"/>
                  <a:gd name="connsiteX6" fmla="*/ 2717800 w 4386943"/>
                  <a:gd name="connsiteY6" fmla="*/ 961338 h 1886623"/>
                  <a:gd name="connsiteX7" fmla="*/ 3008086 w 4386943"/>
                  <a:gd name="connsiteY7" fmla="*/ 351738 h 1886623"/>
                  <a:gd name="connsiteX8" fmla="*/ 3447143 w 4386943"/>
                  <a:gd name="connsiteY8" fmla="*/ 1491109 h 1886623"/>
                  <a:gd name="connsiteX9" fmla="*/ 3933371 w 4386943"/>
                  <a:gd name="connsiteY9" fmla="*/ 533166 h 1886623"/>
                  <a:gd name="connsiteX10" fmla="*/ 4386943 w 4386943"/>
                  <a:gd name="connsiteY10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386943" h="1886623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76738" y="467247"/>
                      <a:pt x="3933371" y="533166"/>
                    </a:cubicBezTo>
                    <a:cubicBezTo>
                      <a:pt x="4090004" y="599085"/>
                      <a:pt x="4238473" y="1242854"/>
                      <a:pt x="4386943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62" name="Freeform: Shape 161"/>
              <p:cNvSpPr/>
              <p:nvPr/>
            </p:nvSpPr>
            <p:spPr>
              <a:xfrm>
                <a:off x="2108201" y="6633272"/>
                <a:ext cx="4386943" cy="862645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0 w 4996543"/>
                  <a:gd name="connsiteY0" fmla="*/ 1 h 2282372"/>
                  <a:gd name="connsiteX1" fmla="*/ 609600 w 4996543"/>
                  <a:gd name="connsiteY1" fmla="*/ 1897744 h 2282372"/>
                  <a:gd name="connsiteX2" fmla="*/ 1273629 w 4996543"/>
                  <a:gd name="connsiteY2" fmla="*/ 801915 h 2282372"/>
                  <a:gd name="connsiteX3" fmla="*/ 1759857 w 4996543"/>
                  <a:gd name="connsiteY3" fmla="*/ 1846944 h 2282372"/>
                  <a:gd name="connsiteX4" fmla="*/ 2224314 w 4996543"/>
                  <a:gd name="connsiteY4" fmla="*/ 1273629 h 2282372"/>
                  <a:gd name="connsiteX5" fmla="*/ 2540000 w 4996543"/>
                  <a:gd name="connsiteY5" fmla="*/ 1763487 h 2282372"/>
                  <a:gd name="connsiteX6" fmla="*/ 2935514 w 4996543"/>
                  <a:gd name="connsiteY6" fmla="*/ 399144 h 2282372"/>
                  <a:gd name="connsiteX7" fmla="*/ 3327400 w 4996543"/>
                  <a:gd name="connsiteY7" fmla="*/ 1357087 h 2282372"/>
                  <a:gd name="connsiteX8" fmla="*/ 3617686 w 4996543"/>
                  <a:gd name="connsiteY8" fmla="*/ 747487 h 2282372"/>
                  <a:gd name="connsiteX9" fmla="*/ 4056743 w 4996543"/>
                  <a:gd name="connsiteY9" fmla="*/ 1886858 h 2282372"/>
                  <a:gd name="connsiteX10" fmla="*/ 4542971 w 4996543"/>
                  <a:gd name="connsiteY10" fmla="*/ 928915 h 2282372"/>
                  <a:gd name="connsiteX11" fmla="*/ 4996543 w 4996543"/>
                  <a:gd name="connsiteY11" fmla="*/ 2282372 h 2282372"/>
                  <a:gd name="connsiteX0" fmla="*/ 0 w 4386943"/>
                  <a:gd name="connsiteY0" fmla="*/ 1501996 h 1886624"/>
                  <a:gd name="connsiteX1" fmla="*/ 664029 w 4386943"/>
                  <a:gd name="connsiteY1" fmla="*/ 406167 h 1886624"/>
                  <a:gd name="connsiteX2" fmla="*/ 1150257 w 4386943"/>
                  <a:gd name="connsiteY2" fmla="*/ 1451196 h 1886624"/>
                  <a:gd name="connsiteX3" fmla="*/ 1614714 w 4386943"/>
                  <a:gd name="connsiteY3" fmla="*/ 877881 h 1886624"/>
                  <a:gd name="connsiteX4" fmla="*/ 1930400 w 4386943"/>
                  <a:gd name="connsiteY4" fmla="*/ 1367739 h 1886624"/>
                  <a:gd name="connsiteX5" fmla="*/ 2325914 w 4386943"/>
                  <a:gd name="connsiteY5" fmla="*/ 3396 h 1886624"/>
                  <a:gd name="connsiteX6" fmla="*/ 2717800 w 4386943"/>
                  <a:gd name="connsiteY6" fmla="*/ 961339 h 1886624"/>
                  <a:gd name="connsiteX7" fmla="*/ 3008086 w 4386943"/>
                  <a:gd name="connsiteY7" fmla="*/ 351739 h 1886624"/>
                  <a:gd name="connsiteX8" fmla="*/ 3447143 w 4386943"/>
                  <a:gd name="connsiteY8" fmla="*/ 1491110 h 1886624"/>
                  <a:gd name="connsiteX9" fmla="*/ 3933371 w 4386943"/>
                  <a:gd name="connsiteY9" fmla="*/ 533167 h 1886624"/>
                  <a:gd name="connsiteX10" fmla="*/ 4386943 w 4386943"/>
                  <a:gd name="connsiteY10" fmla="*/ 1886624 h 1886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386943" h="1886624">
                    <a:moveTo>
                      <a:pt x="0" y="1501996"/>
                    </a:moveTo>
                    <a:cubicBezTo>
                      <a:pt x="212272" y="1635648"/>
                      <a:pt x="472320" y="414634"/>
                      <a:pt x="664029" y="406167"/>
                    </a:cubicBezTo>
                    <a:cubicBezTo>
                      <a:pt x="855738" y="397700"/>
                      <a:pt x="991810" y="1372577"/>
                      <a:pt x="1150257" y="1451196"/>
                    </a:cubicBezTo>
                    <a:cubicBezTo>
                      <a:pt x="1308704" y="1529815"/>
                      <a:pt x="1484690" y="891790"/>
                      <a:pt x="1614714" y="877881"/>
                    </a:cubicBezTo>
                    <a:cubicBezTo>
                      <a:pt x="1744738" y="863972"/>
                      <a:pt x="1811867" y="1513487"/>
                      <a:pt x="1930400" y="1367739"/>
                    </a:cubicBezTo>
                    <a:cubicBezTo>
                      <a:pt x="2048933" y="1221992"/>
                      <a:pt x="2194681" y="71129"/>
                      <a:pt x="2325914" y="3396"/>
                    </a:cubicBezTo>
                    <a:cubicBezTo>
                      <a:pt x="2457147" y="-64337"/>
                      <a:pt x="2604105" y="903282"/>
                      <a:pt x="2717800" y="961339"/>
                    </a:cubicBezTo>
                    <a:cubicBezTo>
                      <a:pt x="2831495" y="1019396"/>
                      <a:pt x="2886529" y="263444"/>
                      <a:pt x="3008086" y="351739"/>
                    </a:cubicBezTo>
                    <a:cubicBezTo>
                      <a:pt x="3129643" y="440034"/>
                      <a:pt x="3292929" y="1460872"/>
                      <a:pt x="3447143" y="1491110"/>
                    </a:cubicBezTo>
                    <a:cubicBezTo>
                      <a:pt x="3601357" y="1521348"/>
                      <a:pt x="3776738" y="467248"/>
                      <a:pt x="3933371" y="533167"/>
                    </a:cubicBezTo>
                    <a:cubicBezTo>
                      <a:pt x="4090004" y="599086"/>
                      <a:pt x="4238473" y="1242855"/>
                      <a:pt x="4386943" y="1886624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54" name="Group 153"/>
            <p:cNvGrpSpPr/>
            <p:nvPr/>
          </p:nvGrpSpPr>
          <p:grpSpPr>
            <a:xfrm rot="5400000">
              <a:off x="-972652" y="3077916"/>
              <a:ext cx="2967991" cy="1448820"/>
              <a:chOff x="2772230" y="5087490"/>
              <a:chExt cx="3820215" cy="2408427"/>
            </a:xfrm>
          </p:grpSpPr>
          <p:sp>
            <p:nvSpPr>
              <p:cNvPr id="155" name="Freeform: Shape 154"/>
              <p:cNvSpPr/>
              <p:nvPr/>
            </p:nvSpPr>
            <p:spPr>
              <a:xfrm>
                <a:off x="2772230" y="5087490"/>
                <a:ext cx="3820215" cy="2291400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625100"/>
                  <a:gd name="connsiteY0" fmla="*/ 1190184 h 2687163"/>
                  <a:gd name="connsiteX1" fmla="*/ 765628 w 6625100"/>
                  <a:gd name="connsiteY1" fmla="*/ 1865099 h 2687163"/>
                  <a:gd name="connsiteX2" fmla="*/ 1531257 w 6625100"/>
                  <a:gd name="connsiteY2" fmla="*/ 13 h 2687163"/>
                  <a:gd name="connsiteX3" fmla="*/ 2140857 w 6625100"/>
                  <a:gd name="connsiteY3" fmla="*/ 1897756 h 2687163"/>
                  <a:gd name="connsiteX4" fmla="*/ 2804886 w 6625100"/>
                  <a:gd name="connsiteY4" fmla="*/ 801927 h 2687163"/>
                  <a:gd name="connsiteX5" fmla="*/ 3291114 w 6625100"/>
                  <a:gd name="connsiteY5" fmla="*/ 1846956 h 2687163"/>
                  <a:gd name="connsiteX6" fmla="*/ 3755571 w 6625100"/>
                  <a:gd name="connsiteY6" fmla="*/ 1273641 h 2687163"/>
                  <a:gd name="connsiteX7" fmla="*/ 4071257 w 6625100"/>
                  <a:gd name="connsiteY7" fmla="*/ 1763499 h 2687163"/>
                  <a:gd name="connsiteX8" fmla="*/ 4466771 w 6625100"/>
                  <a:gd name="connsiteY8" fmla="*/ 399156 h 2687163"/>
                  <a:gd name="connsiteX9" fmla="*/ 4858657 w 6625100"/>
                  <a:gd name="connsiteY9" fmla="*/ 1357099 h 2687163"/>
                  <a:gd name="connsiteX10" fmla="*/ 5148943 w 6625100"/>
                  <a:gd name="connsiteY10" fmla="*/ 747499 h 2687163"/>
                  <a:gd name="connsiteX11" fmla="*/ 5588000 w 6625100"/>
                  <a:gd name="connsiteY11" fmla="*/ 1886870 h 2687163"/>
                  <a:gd name="connsiteX12" fmla="*/ 6074228 w 6625100"/>
                  <a:gd name="connsiteY12" fmla="*/ 928927 h 2687163"/>
                  <a:gd name="connsiteX13" fmla="*/ 6625100 w 6625100"/>
                  <a:gd name="connsiteY13" fmla="*/ 2687163 h 2687163"/>
                  <a:gd name="connsiteX0" fmla="*/ 0 w 5859472"/>
                  <a:gd name="connsiteY0" fmla="*/ 1865099 h 2687163"/>
                  <a:gd name="connsiteX1" fmla="*/ 765629 w 5859472"/>
                  <a:gd name="connsiteY1" fmla="*/ 13 h 2687163"/>
                  <a:gd name="connsiteX2" fmla="*/ 1375229 w 5859472"/>
                  <a:gd name="connsiteY2" fmla="*/ 1897756 h 2687163"/>
                  <a:gd name="connsiteX3" fmla="*/ 2039258 w 5859472"/>
                  <a:gd name="connsiteY3" fmla="*/ 801927 h 2687163"/>
                  <a:gd name="connsiteX4" fmla="*/ 2525486 w 5859472"/>
                  <a:gd name="connsiteY4" fmla="*/ 1846956 h 2687163"/>
                  <a:gd name="connsiteX5" fmla="*/ 2989943 w 5859472"/>
                  <a:gd name="connsiteY5" fmla="*/ 1273641 h 2687163"/>
                  <a:gd name="connsiteX6" fmla="*/ 3305629 w 5859472"/>
                  <a:gd name="connsiteY6" fmla="*/ 1763499 h 2687163"/>
                  <a:gd name="connsiteX7" fmla="*/ 3701143 w 5859472"/>
                  <a:gd name="connsiteY7" fmla="*/ 399156 h 2687163"/>
                  <a:gd name="connsiteX8" fmla="*/ 4093029 w 5859472"/>
                  <a:gd name="connsiteY8" fmla="*/ 1357099 h 2687163"/>
                  <a:gd name="connsiteX9" fmla="*/ 4383315 w 5859472"/>
                  <a:gd name="connsiteY9" fmla="*/ 747499 h 2687163"/>
                  <a:gd name="connsiteX10" fmla="*/ 4822372 w 5859472"/>
                  <a:gd name="connsiteY10" fmla="*/ 1886870 h 2687163"/>
                  <a:gd name="connsiteX11" fmla="*/ 5308600 w 5859472"/>
                  <a:gd name="connsiteY11" fmla="*/ 928927 h 2687163"/>
                  <a:gd name="connsiteX12" fmla="*/ 5859472 w 5859472"/>
                  <a:gd name="connsiteY12" fmla="*/ 2687163 h 2687163"/>
                  <a:gd name="connsiteX0" fmla="*/ -1 w 5093842"/>
                  <a:gd name="connsiteY0" fmla="*/ 0 h 2687150"/>
                  <a:gd name="connsiteX1" fmla="*/ 609599 w 5093842"/>
                  <a:gd name="connsiteY1" fmla="*/ 1897743 h 2687150"/>
                  <a:gd name="connsiteX2" fmla="*/ 1273628 w 5093842"/>
                  <a:gd name="connsiteY2" fmla="*/ 801914 h 2687150"/>
                  <a:gd name="connsiteX3" fmla="*/ 1759856 w 5093842"/>
                  <a:gd name="connsiteY3" fmla="*/ 1846943 h 2687150"/>
                  <a:gd name="connsiteX4" fmla="*/ 2224313 w 5093842"/>
                  <a:gd name="connsiteY4" fmla="*/ 1273628 h 2687150"/>
                  <a:gd name="connsiteX5" fmla="*/ 2539999 w 5093842"/>
                  <a:gd name="connsiteY5" fmla="*/ 1763486 h 2687150"/>
                  <a:gd name="connsiteX6" fmla="*/ 2935513 w 5093842"/>
                  <a:gd name="connsiteY6" fmla="*/ 399143 h 2687150"/>
                  <a:gd name="connsiteX7" fmla="*/ 3327399 w 5093842"/>
                  <a:gd name="connsiteY7" fmla="*/ 1357086 h 2687150"/>
                  <a:gd name="connsiteX8" fmla="*/ 3617685 w 5093842"/>
                  <a:gd name="connsiteY8" fmla="*/ 747486 h 2687150"/>
                  <a:gd name="connsiteX9" fmla="*/ 4056742 w 5093842"/>
                  <a:gd name="connsiteY9" fmla="*/ 1886857 h 2687150"/>
                  <a:gd name="connsiteX10" fmla="*/ 4542970 w 5093842"/>
                  <a:gd name="connsiteY10" fmla="*/ 928914 h 2687150"/>
                  <a:gd name="connsiteX11" fmla="*/ 5093842 w 5093842"/>
                  <a:gd name="connsiteY11" fmla="*/ 2687150 h 2687150"/>
                  <a:gd name="connsiteX0" fmla="*/ 0 w 4484243"/>
                  <a:gd name="connsiteY0" fmla="*/ 1501996 h 2291403"/>
                  <a:gd name="connsiteX1" fmla="*/ 664029 w 4484243"/>
                  <a:gd name="connsiteY1" fmla="*/ 406167 h 2291403"/>
                  <a:gd name="connsiteX2" fmla="*/ 1150257 w 4484243"/>
                  <a:gd name="connsiteY2" fmla="*/ 1451196 h 2291403"/>
                  <a:gd name="connsiteX3" fmla="*/ 1614714 w 4484243"/>
                  <a:gd name="connsiteY3" fmla="*/ 877881 h 2291403"/>
                  <a:gd name="connsiteX4" fmla="*/ 1930400 w 4484243"/>
                  <a:gd name="connsiteY4" fmla="*/ 1367739 h 2291403"/>
                  <a:gd name="connsiteX5" fmla="*/ 2325914 w 4484243"/>
                  <a:gd name="connsiteY5" fmla="*/ 3396 h 2291403"/>
                  <a:gd name="connsiteX6" fmla="*/ 2717800 w 4484243"/>
                  <a:gd name="connsiteY6" fmla="*/ 961339 h 2291403"/>
                  <a:gd name="connsiteX7" fmla="*/ 3008086 w 4484243"/>
                  <a:gd name="connsiteY7" fmla="*/ 351739 h 2291403"/>
                  <a:gd name="connsiteX8" fmla="*/ 3447143 w 4484243"/>
                  <a:gd name="connsiteY8" fmla="*/ 1491110 h 2291403"/>
                  <a:gd name="connsiteX9" fmla="*/ 3933371 w 4484243"/>
                  <a:gd name="connsiteY9" fmla="*/ 533167 h 2291403"/>
                  <a:gd name="connsiteX10" fmla="*/ 4484243 w 4484243"/>
                  <a:gd name="connsiteY10" fmla="*/ 2291403 h 2291403"/>
                  <a:gd name="connsiteX0" fmla="*/ 0 w 3820214"/>
                  <a:gd name="connsiteY0" fmla="*/ 406165 h 2291401"/>
                  <a:gd name="connsiteX1" fmla="*/ 486228 w 3820214"/>
                  <a:gd name="connsiteY1" fmla="*/ 1451194 h 2291401"/>
                  <a:gd name="connsiteX2" fmla="*/ 950685 w 3820214"/>
                  <a:gd name="connsiteY2" fmla="*/ 877879 h 2291401"/>
                  <a:gd name="connsiteX3" fmla="*/ 1266371 w 3820214"/>
                  <a:gd name="connsiteY3" fmla="*/ 1367737 h 2291401"/>
                  <a:gd name="connsiteX4" fmla="*/ 1661885 w 3820214"/>
                  <a:gd name="connsiteY4" fmla="*/ 3394 h 2291401"/>
                  <a:gd name="connsiteX5" fmla="*/ 2053771 w 3820214"/>
                  <a:gd name="connsiteY5" fmla="*/ 961337 h 2291401"/>
                  <a:gd name="connsiteX6" fmla="*/ 2344057 w 3820214"/>
                  <a:gd name="connsiteY6" fmla="*/ 351737 h 2291401"/>
                  <a:gd name="connsiteX7" fmla="*/ 2783114 w 3820214"/>
                  <a:gd name="connsiteY7" fmla="*/ 1491108 h 2291401"/>
                  <a:gd name="connsiteX8" fmla="*/ 3269342 w 3820214"/>
                  <a:gd name="connsiteY8" fmla="*/ 533165 h 2291401"/>
                  <a:gd name="connsiteX9" fmla="*/ 3820214 w 3820214"/>
                  <a:gd name="connsiteY9" fmla="*/ 2291401 h 2291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20214" h="2291401">
                    <a:moveTo>
                      <a:pt x="0" y="406165"/>
                    </a:moveTo>
                    <a:cubicBezTo>
                      <a:pt x="191709" y="397698"/>
                      <a:pt x="327781" y="1372575"/>
                      <a:pt x="486228" y="1451194"/>
                    </a:cubicBezTo>
                    <a:cubicBezTo>
                      <a:pt x="644675" y="1529813"/>
                      <a:pt x="820661" y="891788"/>
                      <a:pt x="950685" y="877879"/>
                    </a:cubicBezTo>
                    <a:cubicBezTo>
                      <a:pt x="1080709" y="863970"/>
                      <a:pt x="1147838" y="1513485"/>
                      <a:pt x="1266371" y="1367737"/>
                    </a:cubicBezTo>
                    <a:cubicBezTo>
                      <a:pt x="1384904" y="1221990"/>
                      <a:pt x="1530652" y="71127"/>
                      <a:pt x="1661885" y="3394"/>
                    </a:cubicBezTo>
                    <a:cubicBezTo>
                      <a:pt x="1793118" y="-64339"/>
                      <a:pt x="1940076" y="903280"/>
                      <a:pt x="2053771" y="961337"/>
                    </a:cubicBezTo>
                    <a:cubicBezTo>
                      <a:pt x="2167466" y="1019394"/>
                      <a:pt x="2222500" y="263442"/>
                      <a:pt x="2344057" y="351737"/>
                    </a:cubicBezTo>
                    <a:cubicBezTo>
                      <a:pt x="2465614" y="440032"/>
                      <a:pt x="2628900" y="1460870"/>
                      <a:pt x="2783114" y="1491108"/>
                    </a:cubicBezTo>
                    <a:cubicBezTo>
                      <a:pt x="2937328" y="1521346"/>
                      <a:pt x="3096492" y="399783"/>
                      <a:pt x="3269342" y="533165"/>
                    </a:cubicBezTo>
                    <a:cubicBezTo>
                      <a:pt x="3442192" y="666547"/>
                      <a:pt x="3671744" y="1647632"/>
                      <a:pt x="3820214" y="2291401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56" name="Freeform: Shape 155"/>
              <p:cNvSpPr/>
              <p:nvPr/>
            </p:nvSpPr>
            <p:spPr>
              <a:xfrm>
                <a:off x="2772230" y="5531340"/>
                <a:ext cx="3781294" cy="1864309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86180"/>
                  <a:gd name="connsiteY0" fmla="*/ 1190184 h 2518602"/>
                  <a:gd name="connsiteX1" fmla="*/ 765628 w 6586180"/>
                  <a:gd name="connsiteY1" fmla="*/ 1865099 h 2518602"/>
                  <a:gd name="connsiteX2" fmla="*/ 1531257 w 6586180"/>
                  <a:gd name="connsiteY2" fmla="*/ 13 h 2518602"/>
                  <a:gd name="connsiteX3" fmla="*/ 2140857 w 6586180"/>
                  <a:gd name="connsiteY3" fmla="*/ 1897756 h 2518602"/>
                  <a:gd name="connsiteX4" fmla="*/ 2804886 w 6586180"/>
                  <a:gd name="connsiteY4" fmla="*/ 801927 h 2518602"/>
                  <a:gd name="connsiteX5" fmla="*/ 3291114 w 6586180"/>
                  <a:gd name="connsiteY5" fmla="*/ 1846956 h 2518602"/>
                  <a:gd name="connsiteX6" fmla="*/ 3755571 w 6586180"/>
                  <a:gd name="connsiteY6" fmla="*/ 1273641 h 2518602"/>
                  <a:gd name="connsiteX7" fmla="*/ 4071257 w 6586180"/>
                  <a:gd name="connsiteY7" fmla="*/ 1763499 h 2518602"/>
                  <a:gd name="connsiteX8" fmla="*/ 4466771 w 6586180"/>
                  <a:gd name="connsiteY8" fmla="*/ 399156 h 2518602"/>
                  <a:gd name="connsiteX9" fmla="*/ 4858657 w 6586180"/>
                  <a:gd name="connsiteY9" fmla="*/ 1357099 h 2518602"/>
                  <a:gd name="connsiteX10" fmla="*/ 5148943 w 6586180"/>
                  <a:gd name="connsiteY10" fmla="*/ 747499 h 2518602"/>
                  <a:gd name="connsiteX11" fmla="*/ 5588000 w 6586180"/>
                  <a:gd name="connsiteY11" fmla="*/ 1886870 h 2518602"/>
                  <a:gd name="connsiteX12" fmla="*/ 6074228 w 6586180"/>
                  <a:gd name="connsiteY12" fmla="*/ 928927 h 2518602"/>
                  <a:gd name="connsiteX13" fmla="*/ 6586180 w 6586180"/>
                  <a:gd name="connsiteY13" fmla="*/ 2518602 h 2518602"/>
                  <a:gd name="connsiteX0" fmla="*/ 0 w 6586180"/>
                  <a:gd name="connsiteY0" fmla="*/ 794423 h 2122841"/>
                  <a:gd name="connsiteX1" fmla="*/ 765628 w 6586180"/>
                  <a:gd name="connsiteY1" fmla="*/ 1469338 h 2122841"/>
                  <a:gd name="connsiteX2" fmla="*/ 2140857 w 6586180"/>
                  <a:gd name="connsiteY2" fmla="*/ 1501995 h 2122841"/>
                  <a:gd name="connsiteX3" fmla="*/ 2804886 w 6586180"/>
                  <a:gd name="connsiteY3" fmla="*/ 406166 h 2122841"/>
                  <a:gd name="connsiteX4" fmla="*/ 3291114 w 6586180"/>
                  <a:gd name="connsiteY4" fmla="*/ 1451195 h 2122841"/>
                  <a:gd name="connsiteX5" fmla="*/ 3755571 w 6586180"/>
                  <a:gd name="connsiteY5" fmla="*/ 877880 h 2122841"/>
                  <a:gd name="connsiteX6" fmla="*/ 4071257 w 6586180"/>
                  <a:gd name="connsiteY6" fmla="*/ 1367738 h 2122841"/>
                  <a:gd name="connsiteX7" fmla="*/ 4466771 w 6586180"/>
                  <a:gd name="connsiteY7" fmla="*/ 3395 h 2122841"/>
                  <a:gd name="connsiteX8" fmla="*/ 4858657 w 6586180"/>
                  <a:gd name="connsiteY8" fmla="*/ 961338 h 2122841"/>
                  <a:gd name="connsiteX9" fmla="*/ 5148943 w 6586180"/>
                  <a:gd name="connsiteY9" fmla="*/ 351738 h 2122841"/>
                  <a:gd name="connsiteX10" fmla="*/ 5588000 w 6586180"/>
                  <a:gd name="connsiteY10" fmla="*/ 1491109 h 2122841"/>
                  <a:gd name="connsiteX11" fmla="*/ 6074228 w 6586180"/>
                  <a:gd name="connsiteY11" fmla="*/ 533166 h 2122841"/>
                  <a:gd name="connsiteX12" fmla="*/ 6586180 w 6586180"/>
                  <a:gd name="connsiteY12" fmla="*/ 2122841 h 2122841"/>
                  <a:gd name="connsiteX0" fmla="*/ 0 w 6586180"/>
                  <a:gd name="connsiteY0" fmla="*/ 794423 h 2122841"/>
                  <a:gd name="connsiteX1" fmla="*/ 2140857 w 6586180"/>
                  <a:gd name="connsiteY1" fmla="*/ 1501995 h 2122841"/>
                  <a:gd name="connsiteX2" fmla="*/ 2804886 w 6586180"/>
                  <a:gd name="connsiteY2" fmla="*/ 406166 h 2122841"/>
                  <a:gd name="connsiteX3" fmla="*/ 3291114 w 6586180"/>
                  <a:gd name="connsiteY3" fmla="*/ 1451195 h 2122841"/>
                  <a:gd name="connsiteX4" fmla="*/ 3755571 w 6586180"/>
                  <a:gd name="connsiteY4" fmla="*/ 877880 h 2122841"/>
                  <a:gd name="connsiteX5" fmla="*/ 4071257 w 6586180"/>
                  <a:gd name="connsiteY5" fmla="*/ 1367738 h 2122841"/>
                  <a:gd name="connsiteX6" fmla="*/ 4466771 w 6586180"/>
                  <a:gd name="connsiteY6" fmla="*/ 3395 h 2122841"/>
                  <a:gd name="connsiteX7" fmla="*/ 4858657 w 6586180"/>
                  <a:gd name="connsiteY7" fmla="*/ 961338 h 2122841"/>
                  <a:gd name="connsiteX8" fmla="*/ 5148943 w 6586180"/>
                  <a:gd name="connsiteY8" fmla="*/ 351738 h 2122841"/>
                  <a:gd name="connsiteX9" fmla="*/ 5588000 w 6586180"/>
                  <a:gd name="connsiteY9" fmla="*/ 1491109 h 2122841"/>
                  <a:gd name="connsiteX10" fmla="*/ 6074228 w 6586180"/>
                  <a:gd name="connsiteY10" fmla="*/ 533166 h 2122841"/>
                  <a:gd name="connsiteX11" fmla="*/ 6586180 w 6586180"/>
                  <a:gd name="connsiteY11" fmla="*/ 2122841 h 2122841"/>
                  <a:gd name="connsiteX0" fmla="*/ 0 w 4445323"/>
                  <a:gd name="connsiteY0" fmla="*/ 1501995 h 2122841"/>
                  <a:gd name="connsiteX1" fmla="*/ 664029 w 4445323"/>
                  <a:gd name="connsiteY1" fmla="*/ 406166 h 2122841"/>
                  <a:gd name="connsiteX2" fmla="*/ 1150257 w 4445323"/>
                  <a:gd name="connsiteY2" fmla="*/ 1451195 h 2122841"/>
                  <a:gd name="connsiteX3" fmla="*/ 1614714 w 4445323"/>
                  <a:gd name="connsiteY3" fmla="*/ 877880 h 2122841"/>
                  <a:gd name="connsiteX4" fmla="*/ 1930400 w 4445323"/>
                  <a:gd name="connsiteY4" fmla="*/ 1367738 h 2122841"/>
                  <a:gd name="connsiteX5" fmla="*/ 2325914 w 4445323"/>
                  <a:gd name="connsiteY5" fmla="*/ 3395 h 2122841"/>
                  <a:gd name="connsiteX6" fmla="*/ 2717800 w 4445323"/>
                  <a:gd name="connsiteY6" fmla="*/ 961338 h 2122841"/>
                  <a:gd name="connsiteX7" fmla="*/ 3008086 w 4445323"/>
                  <a:gd name="connsiteY7" fmla="*/ 351738 h 2122841"/>
                  <a:gd name="connsiteX8" fmla="*/ 3447143 w 4445323"/>
                  <a:gd name="connsiteY8" fmla="*/ 1491109 h 2122841"/>
                  <a:gd name="connsiteX9" fmla="*/ 3933371 w 4445323"/>
                  <a:gd name="connsiteY9" fmla="*/ 533166 h 2122841"/>
                  <a:gd name="connsiteX10" fmla="*/ 4445323 w 4445323"/>
                  <a:gd name="connsiteY10" fmla="*/ 2122841 h 2122841"/>
                  <a:gd name="connsiteX0" fmla="*/ 0 w 3781294"/>
                  <a:gd name="connsiteY0" fmla="*/ 406166 h 2122841"/>
                  <a:gd name="connsiteX1" fmla="*/ 486228 w 3781294"/>
                  <a:gd name="connsiteY1" fmla="*/ 1451195 h 2122841"/>
                  <a:gd name="connsiteX2" fmla="*/ 950685 w 3781294"/>
                  <a:gd name="connsiteY2" fmla="*/ 877880 h 2122841"/>
                  <a:gd name="connsiteX3" fmla="*/ 1266371 w 3781294"/>
                  <a:gd name="connsiteY3" fmla="*/ 1367738 h 2122841"/>
                  <a:gd name="connsiteX4" fmla="*/ 1661885 w 3781294"/>
                  <a:gd name="connsiteY4" fmla="*/ 3395 h 2122841"/>
                  <a:gd name="connsiteX5" fmla="*/ 2053771 w 3781294"/>
                  <a:gd name="connsiteY5" fmla="*/ 961338 h 2122841"/>
                  <a:gd name="connsiteX6" fmla="*/ 2344057 w 3781294"/>
                  <a:gd name="connsiteY6" fmla="*/ 351738 h 2122841"/>
                  <a:gd name="connsiteX7" fmla="*/ 2783114 w 3781294"/>
                  <a:gd name="connsiteY7" fmla="*/ 1491109 h 2122841"/>
                  <a:gd name="connsiteX8" fmla="*/ 3269342 w 3781294"/>
                  <a:gd name="connsiteY8" fmla="*/ 533166 h 2122841"/>
                  <a:gd name="connsiteX9" fmla="*/ 3781294 w 3781294"/>
                  <a:gd name="connsiteY9" fmla="*/ 2122841 h 212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81294" h="2122841">
                    <a:moveTo>
                      <a:pt x="0" y="406166"/>
                    </a:moveTo>
                    <a:cubicBezTo>
                      <a:pt x="191709" y="397699"/>
                      <a:pt x="327781" y="1372576"/>
                      <a:pt x="486228" y="1451195"/>
                    </a:cubicBezTo>
                    <a:cubicBezTo>
                      <a:pt x="644675" y="1529814"/>
                      <a:pt x="820661" y="891789"/>
                      <a:pt x="950685" y="877880"/>
                    </a:cubicBezTo>
                    <a:cubicBezTo>
                      <a:pt x="1080709" y="863971"/>
                      <a:pt x="1147838" y="1513486"/>
                      <a:pt x="1266371" y="1367738"/>
                    </a:cubicBezTo>
                    <a:cubicBezTo>
                      <a:pt x="1384904" y="1221991"/>
                      <a:pt x="1530652" y="71128"/>
                      <a:pt x="1661885" y="3395"/>
                    </a:cubicBezTo>
                    <a:cubicBezTo>
                      <a:pt x="1793118" y="-64338"/>
                      <a:pt x="1940076" y="903281"/>
                      <a:pt x="2053771" y="961338"/>
                    </a:cubicBezTo>
                    <a:cubicBezTo>
                      <a:pt x="2167466" y="1019395"/>
                      <a:pt x="2222500" y="263443"/>
                      <a:pt x="2344057" y="351738"/>
                    </a:cubicBezTo>
                    <a:cubicBezTo>
                      <a:pt x="2465614" y="440033"/>
                      <a:pt x="2628900" y="1460871"/>
                      <a:pt x="2783114" y="1491109"/>
                    </a:cubicBezTo>
                    <a:cubicBezTo>
                      <a:pt x="2937328" y="1521347"/>
                      <a:pt x="3102979" y="427877"/>
                      <a:pt x="3269342" y="533166"/>
                    </a:cubicBezTo>
                    <a:cubicBezTo>
                      <a:pt x="3435705" y="638455"/>
                      <a:pt x="3632824" y="1479072"/>
                      <a:pt x="3781294" y="2122841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57" name="Freeform: Shape 156"/>
              <p:cNvSpPr/>
              <p:nvPr/>
            </p:nvSpPr>
            <p:spPr>
              <a:xfrm>
                <a:off x="3258458" y="6195929"/>
                <a:ext cx="3236685" cy="1220174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27800"/>
                  <a:gd name="connsiteY0" fmla="*/ 1219485 h 2311685"/>
                  <a:gd name="connsiteX1" fmla="*/ 765628 w 6527800"/>
                  <a:gd name="connsiteY1" fmla="*/ 1894400 h 2311685"/>
                  <a:gd name="connsiteX2" fmla="*/ 1531257 w 6527800"/>
                  <a:gd name="connsiteY2" fmla="*/ 29314 h 2311685"/>
                  <a:gd name="connsiteX3" fmla="*/ 2804886 w 6527800"/>
                  <a:gd name="connsiteY3" fmla="*/ 831228 h 2311685"/>
                  <a:gd name="connsiteX4" fmla="*/ 3291114 w 6527800"/>
                  <a:gd name="connsiteY4" fmla="*/ 1876257 h 2311685"/>
                  <a:gd name="connsiteX5" fmla="*/ 3755571 w 6527800"/>
                  <a:gd name="connsiteY5" fmla="*/ 1302942 h 2311685"/>
                  <a:gd name="connsiteX6" fmla="*/ 4071257 w 6527800"/>
                  <a:gd name="connsiteY6" fmla="*/ 1792800 h 2311685"/>
                  <a:gd name="connsiteX7" fmla="*/ 4466771 w 6527800"/>
                  <a:gd name="connsiteY7" fmla="*/ 428457 h 2311685"/>
                  <a:gd name="connsiteX8" fmla="*/ 4858657 w 6527800"/>
                  <a:gd name="connsiteY8" fmla="*/ 1386400 h 2311685"/>
                  <a:gd name="connsiteX9" fmla="*/ 5148943 w 6527800"/>
                  <a:gd name="connsiteY9" fmla="*/ 776800 h 2311685"/>
                  <a:gd name="connsiteX10" fmla="*/ 5588000 w 6527800"/>
                  <a:gd name="connsiteY10" fmla="*/ 1916171 h 2311685"/>
                  <a:gd name="connsiteX11" fmla="*/ 6074228 w 6527800"/>
                  <a:gd name="connsiteY11" fmla="*/ 958228 h 2311685"/>
                  <a:gd name="connsiteX12" fmla="*/ 6527800 w 6527800"/>
                  <a:gd name="connsiteY12" fmla="*/ 2311685 h 2311685"/>
                  <a:gd name="connsiteX0" fmla="*/ 0 w 6527800"/>
                  <a:gd name="connsiteY0" fmla="*/ 794423 h 1886623"/>
                  <a:gd name="connsiteX1" fmla="*/ 765628 w 6527800"/>
                  <a:gd name="connsiteY1" fmla="*/ 1469338 h 1886623"/>
                  <a:gd name="connsiteX2" fmla="*/ 2804886 w 6527800"/>
                  <a:gd name="connsiteY2" fmla="*/ 406166 h 1886623"/>
                  <a:gd name="connsiteX3" fmla="*/ 3291114 w 6527800"/>
                  <a:gd name="connsiteY3" fmla="*/ 1451195 h 1886623"/>
                  <a:gd name="connsiteX4" fmla="*/ 3755571 w 6527800"/>
                  <a:gd name="connsiteY4" fmla="*/ 877880 h 1886623"/>
                  <a:gd name="connsiteX5" fmla="*/ 4071257 w 6527800"/>
                  <a:gd name="connsiteY5" fmla="*/ 1367738 h 1886623"/>
                  <a:gd name="connsiteX6" fmla="*/ 4466771 w 6527800"/>
                  <a:gd name="connsiteY6" fmla="*/ 3395 h 1886623"/>
                  <a:gd name="connsiteX7" fmla="*/ 4858657 w 6527800"/>
                  <a:gd name="connsiteY7" fmla="*/ 961338 h 1886623"/>
                  <a:gd name="connsiteX8" fmla="*/ 5148943 w 6527800"/>
                  <a:gd name="connsiteY8" fmla="*/ 351738 h 1886623"/>
                  <a:gd name="connsiteX9" fmla="*/ 5588000 w 6527800"/>
                  <a:gd name="connsiteY9" fmla="*/ 1491109 h 1886623"/>
                  <a:gd name="connsiteX10" fmla="*/ 6074228 w 6527800"/>
                  <a:gd name="connsiteY10" fmla="*/ 533166 h 1886623"/>
                  <a:gd name="connsiteX11" fmla="*/ 6527800 w 6527800"/>
                  <a:gd name="connsiteY11" fmla="*/ 1886623 h 1886623"/>
                  <a:gd name="connsiteX0" fmla="*/ 0 w 6527800"/>
                  <a:gd name="connsiteY0" fmla="*/ 794423 h 1886623"/>
                  <a:gd name="connsiteX1" fmla="*/ 765628 w 6527800"/>
                  <a:gd name="connsiteY1" fmla="*/ 1469338 h 1886623"/>
                  <a:gd name="connsiteX2" fmla="*/ 3291114 w 6527800"/>
                  <a:gd name="connsiteY2" fmla="*/ 1451195 h 1886623"/>
                  <a:gd name="connsiteX3" fmla="*/ 3755571 w 6527800"/>
                  <a:gd name="connsiteY3" fmla="*/ 877880 h 1886623"/>
                  <a:gd name="connsiteX4" fmla="*/ 4071257 w 6527800"/>
                  <a:gd name="connsiteY4" fmla="*/ 1367738 h 1886623"/>
                  <a:gd name="connsiteX5" fmla="*/ 4466771 w 6527800"/>
                  <a:gd name="connsiteY5" fmla="*/ 3395 h 1886623"/>
                  <a:gd name="connsiteX6" fmla="*/ 4858657 w 6527800"/>
                  <a:gd name="connsiteY6" fmla="*/ 961338 h 1886623"/>
                  <a:gd name="connsiteX7" fmla="*/ 5148943 w 6527800"/>
                  <a:gd name="connsiteY7" fmla="*/ 351738 h 1886623"/>
                  <a:gd name="connsiteX8" fmla="*/ 5588000 w 6527800"/>
                  <a:gd name="connsiteY8" fmla="*/ 1491109 h 1886623"/>
                  <a:gd name="connsiteX9" fmla="*/ 6074228 w 6527800"/>
                  <a:gd name="connsiteY9" fmla="*/ 533166 h 1886623"/>
                  <a:gd name="connsiteX10" fmla="*/ 6527800 w 6527800"/>
                  <a:gd name="connsiteY10" fmla="*/ 1886623 h 1886623"/>
                  <a:gd name="connsiteX0" fmla="*/ 0 w 6527800"/>
                  <a:gd name="connsiteY0" fmla="*/ 794423 h 1886623"/>
                  <a:gd name="connsiteX1" fmla="*/ 3291114 w 6527800"/>
                  <a:gd name="connsiteY1" fmla="*/ 1451195 h 1886623"/>
                  <a:gd name="connsiteX2" fmla="*/ 3755571 w 6527800"/>
                  <a:gd name="connsiteY2" fmla="*/ 877880 h 1886623"/>
                  <a:gd name="connsiteX3" fmla="*/ 4071257 w 6527800"/>
                  <a:gd name="connsiteY3" fmla="*/ 1367738 h 1886623"/>
                  <a:gd name="connsiteX4" fmla="*/ 4466771 w 6527800"/>
                  <a:gd name="connsiteY4" fmla="*/ 3395 h 1886623"/>
                  <a:gd name="connsiteX5" fmla="*/ 4858657 w 6527800"/>
                  <a:gd name="connsiteY5" fmla="*/ 961338 h 1886623"/>
                  <a:gd name="connsiteX6" fmla="*/ 5148943 w 6527800"/>
                  <a:gd name="connsiteY6" fmla="*/ 351738 h 1886623"/>
                  <a:gd name="connsiteX7" fmla="*/ 5588000 w 6527800"/>
                  <a:gd name="connsiteY7" fmla="*/ 1491109 h 1886623"/>
                  <a:gd name="connsiteX8" fmla="*/ 6074228 w 6527800"/>
                  <a:gd name="connsiteY8" fmla="*/ 533166 h 1886623"/>
                  <a:gd name="connsiteX9" fmla="*/ 6527800 w 6527800"/>
                  <a:gd name="connsiteY9" fmla="*/ 1886623 h 1886623"/>
                  <a:gd name="connsiteX0" fmla="*/ -1 w 3236685"/>
                  <a:gd name="connsiteY0" fmla="*/ 1451195 h 1886623"/>
                  <a:gd name="connsiteX1" fmla="*/ 464456 w 3236685"/>
                  <a:gd name="connsiteY1" fmla="*/ 877880 h 1886623"/>
                  <a:gd name="connsiteX2" fmla="*/ 780142 w 3236685"/>
                  <a:gd name="connsiteY2" fmla="*/ 1367738 h 1886623"/>
                  <a:gd name="connsiteX3" fmla="*/ 1175656 w 3236685"/>
                  <a:gd name="connsiteY3" fmla="*/ 3395 h 1886623"/>
                  <a:gd name="connsiteX4" fmla="*/ 1567542 w 3236685"/>
                  <a:gd name="connsiteY4" fmla="*/ 961338 h 1886623"/>
                  <a:gd name="connsiteX5" fmla="*/ 1857828 w 3236685"/>
                  <a:gd name="connsiteY5" fmla="*/ 351738 h 1886623"/>
                  <a:gd name="connsiteX6" fmla="*/ 2296885 w 3236685"/>
                  <a:gd name="connsiteY6" fmla="*/ 1491109 h 1886623"/>
                  <a:gd name="connsiteX7" fmla="*/ 2783113 w 3236685"/>
                  <a:gd name="connsiteY7" fmla="*/ 533166 h 1886623"/>
                  <a:gd name="connsiteX8" fmla="*/ 3236685 w 3236685"/>
                  <a:gd name="connsiteY8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36685" h="1886623">
                    <a:moveTo>
                      <a:pt x="-1" y="1451195"/>
                    </a:moveTo>
                    <a:cubicBezTo>
                      <a:pt x="625927" y="1465104"/>
                      <a:pt x="334432" y="891789"/>
                      <a:pt x="464456" y="877880"/>
                    </a:cubicBezTo>
                    <a:cubicBezTo>
                      <a:pt x="594480" y="863971"/>
                      <a:pt x="661609" y="1513486"/>
                      <a:pt x="780142" y="1367738"/>
                    </a:cubicBezTo>
                    <a:cubicBezTo>
                      <a:pt x="898675" y="1221991"/>
                      <a:pt x="1044423" y="71128"/>
                      <a:pt x="1175656" y="3395"/>
                    </a:cubicBezTo>
                    <a:cubicBezTo>
                      <a:pt x="1306889" y="-64338"/>
                      <a:pt x="1453847" y="903281"/>
                      <a:pt x="1567542" y="961338"/>
                    </a:cubicBezTo>
                    <a:cubicBezTo>
                      <a:pt x="1681237" y="1019395"/>
                      <a:pt x="1736271" y="263443"/>
                      <a:pt x="1857828" y="351738"/>
                    </a:cubicBezTo>
                    <a:cubicBezTo>
                      <a:pt x="1979385" y="440033"/>
                      <a:pt x="2142671" y="1460871"/>
                      <a:pt x="2296885" y="1491109"/>
                    </a:cubicBezTo>
                    <a:cubicBezTo>
                      <a:pt x="2451099" y="1521347"/>
                      <a:pt x="2626480" y="467247"/>
                      <a:pt x="2783113" y="533166"/>
                    </a:cubicBezTo>
                    <a:cubicBezTo>
                      <a:pt x="2939746" y="599085"/>
                      <a:pt x="3088215" y="1242854"/>
                      <a:pt x="3236685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58" name="Freeform: Shape 157"/>
              <p:cNvSpPr/>
              <p:nvPr/>
            </p:nvSpPr>
            <p:spPr>
              <a:xfrm>
                <a:off x="4038601" y="6633271"/>
                <a:ext cx="2456542" cy="862645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1 w 4996544"/>
                  <a:gd name="connsiteY0" fmla="*/ -2 h 2282369"/>
                  <a:gd name="connsiteX1" fmla="*/ 609601 w 4996544"/>
                  <a:gd name="connsiteY1" fmla="*/ 1897741 h 2282369"/>
                  <a:gd name="connsiteX2" fmla="*/ 1273630 w 4996544"/>
                  <a:gd name="connsiteY2" fmla="*/ 801912 h 2282369"/>
                  <a:gd name="connsiteX3" fmla="*/ 1759858 w 4996544"/>
                  <a:gd name="connsiteY3" fmla="*/ 1846941 h 2282369"/>
                  <a:gd name="connsiteX4" fmla="*/ 2224315 w 4996544"/>
                  <a:gd name="connsiteY4" fmla="*/ 1273626 h 2282369"/>
                  <a:gd name="connsiteX5" fmla="*/ 2540001 w 4996544"/>
                  <a:gd name="connsiteY5" fmla="*/ 1763484 h 2282369"/>
                  <a:gd name="connsiteX6" fmla="*/ 2935515 w 4996544"/>
                  <a:gd name="connsiteY6" fmla="*/ 399141 h 2282369"/>
                  <a:gd name="connsiteX7" fmla="*/ 3327401 w 4996544"/>
                  <a:gd name="connsiteY7" fmla="*/ 1357084 h 2282369"/>
                  <a:gd name="connsiteX8" fmla="*/ 3617687 w 4996544"/>
                  <a:gd name="connsiteY8" fmla="*/ 747484 h 2282369"/>
                  <a:gd name="connsiteX9" fmla="*/ 4056744 w 4996544"/>
                  <a:gd name="connsiteY9" fmla="*/ 1886855 h 2282369"/>
                  <a:gd name="connsiteX10" fmla="*/ 4542972 w 4996544"/>
                  <a:gd name="connsiteY10" fmla="*/ 928912 h 2282369"/>
                  <a:gd name="connsiteX11" fmla="*/ 4996544 w 4996544"/>
                  <a:gd name="connsiteY11" fmla="*/ 2282369 h 2282369"/>
                  <a:gd name="connsiteX0" fmla="*/ 0 w 4386943"/>
                  <a:gd name="connsiteY0" fmla="*/ 1501995 h 1886623"/>
                  <a:gd name="connsiteX1" fmla="*/ 664029 w 4386943"/>
                  <a:gd name="connsiteY1" fmla="*/ 406166 h 1886623"/>
                  <a:gd name="connsiteX2" fmla="*/ 1150257 w 4386943"/>
                  <a:gd name="connsiteY2" fmla="*/ 1451195 h 1886623"/>
                  <a:gd name="connsiteX3" fmla="*/ 1614714 w 4386943"/>
                  <a:gd name="connsiteY3" fmla="*/ 877880 h 1886623"/>
                  <a:gd name="connsiteX4" fmla="*/ 1930400 w 4386943"/>
                  <a:gd name="connsiteY4" fmla="*/ 1367738 h 1886623"/>
                  <a:gd name="connsiteX5" fmla="*/ 2325914 w 4386943"/>
                  <a:gd name="connsiteY5" fmla="*/ 3395 h 1886623"/>
                  <a:gd name="connsiteX6" fmla="*/ 2717800 w 4386943"/>
                  <a:gd name="connsiteY6" fmla="*/ 961338 h 1886623"/>
                  <a:gd name="connsiteX7" fmla="*/ 3008086 w 4386943"/>
                  <a:gd name="connsiteY7" fmla="*/ 351738 h 1886623"/>
                  <a:gd name="connsiteX8" fmla="*/ 3447143 w 4386943"/>
                  <a:gd name="connsiteY8" fmla="*/ 1491109 h 1886623"/>
                  <a:gd name="connsiteX9" fmla="*/ 3933371 w 4386943"/>
                  <a:gd name="connsiteY9" fmla="*/ 533166 h 1886623"/>
                  <a:gd name="connsiteX10" fmla="*/ 4386943 w 4386943"/>
                  <a:gd name="connsiteY10" fmla="*/ 1886623 h 1886623"/>
                  <a:gd name="connsiteX0" fmla="*/ 1 w 3722915"/>
                  <a:gd name="connsiteY0" fmla="*/ 406166 h 1886623"/>
                  <a:gd name="connsiteX1" fmla="*/ 486229 w 3722915"/>
                  <a:gd name="connsiteY1" fmla="*/ 1451195 h 1886623"/>
                  <a:gd name="connsiteX2" fmla="*/ 950686 w 3722915"/>
                  <a:gd name="connsiteY2" fmla="*/ 877880 h 1886623"/>
                  <a:gd name="connsiteX3" fmla="*/ 1266372 w 3722915"/>
                  <a:gd name="connsiteY3" fmla="*/ 1367738 h 1886623"/>
                  <a:gd name="connsiteX4" fmla="*/ 1661886 w 3722915"/>
                  <a:gd name="connsiteY4" fmla="*/ 3395 h 1886623"/>
                  <a:gd name="connsiteX5" fmla="*/ 2053772 w 3722915"/>
                  <a:gd name="connsiteY5" fmla="*/ 961338 h 1886623"/>
                  <a:gd name="connsiteX6" fmla="*/ 2344058 w 3722915"/>
                  <a:gd name="connsiteY6" fmla="*/ 351738 h 1886623"/>
                  <a:gd name="connsiteX7" fmla="*/ 2783115 w 3722915"/>
                  <a:gd name="connsiteY7" fmla="*/ 1491109 h 1886623"/>
                  <a:gd name="connsiteX8" fmla="*/ 3269343 w 3722915"/>
                  <a:gd name="connsiteY8" fmla="*/ 533166 h 1886623"/>
                  <a:gd name="connsiteX9" fmla="*/ 3722915 w 3722915"/>
                  <a:gd name="connsiteY9" fmla="*/ 1886623 h 1886623"/>
                  <a:gd name="connsiteX0" fmla="*/ -1 w 3236685"/>
                  <a:gd name="connsiteY0" fmla="*/ 1451195 h 1886623"/>
                  <a:gd name="connsiteX1" fmla="*/ 464456 w 3236685"/>
                  <a:gd name="connsiteY1" fmla="*/ 877880 h 1886623"/>
                  <a:gd name="connsiteX2" fmla="*/ 780142 w 3236685"/>
                  <a:gd name="connsiteY2" fmla="*/ 1367738 h 1886623"/>
                  <a:gd name="connsiteX3" fmla="*/ 1175656 w 3236685"/>
                  <a:gd name="connsiteY3" fmla="*/ 3395 h 1886623"/>
                  <a:gd name="connsiteX4" fmla="*/ 1567542 w 3236685"/>
                  <a:gd name="connsiteY4" fmla="*/ 961338 h 1886623"/>
                  <a:gd name="connsiteX5" fmla="*/ 1857828 w 3236685"/>
                  <a:gd name="connsiteY5" fmla="*/ 351738 h 1886623"/>
                  <a:gd name="connsiteX6" fmla="*/ 2296885 w 3236685"/>
                  <a:gd name="connsiteY6" fmla="*/ 1491109 h 1886623"/>
                  <a:gd name="connsiteX7" fmla="*/ 2783113 w 3236685"/>
                  <a:gd name="connsiteY7" fmla="*/ 533166 h 1886623"/>
                  <a:gd name="connsiteX8" fmla="*/ 3236685 w 3236685"/>
                  <a:gd name="connsiteY8" fmla="*/ 1886623 h 1886623"/>
                  <a:gd name="connsiteX0" fmla="*/ 0 w 2772229"/>
                  <a:gd name="connsiteY0" fmla="*/ 877880 h 1886623"/>
                  <a:gd name="connsiteX1" fmla="*/ 315686 w 2772229"/>
                  <a:gd name="connsiteY1" fmla="*/ 1367738 h 1886623"/>
                  <a:gd name="connsiteX2" fmla="*/ 711200 w 2772229"/>
                  <a:gd name="connsiteY2" fmla="*/ 3395 h 1886623"/>
                  <a:gd name="connsiteX3" fmla="*/ 1103086 w 2772229"/>
                  <a:gd name="connsiteY3" fmla="*/ 961338 h 1886623"/>
                  <a:gd name="connsiteX4" fmla="*/ 1393372 w 2772229"/>
                  <a:gd name="connsiteY4" fmla="*/ 351738 h 1886623"/>
                  <a:gd name="connsiteX5" fmla="*/ 1832429 w 2772229"/>
                  <a:gd name="connsiteY5" fmla="*/ 1491109 h 1886623"/>
                  <a:gd name="connsiteX6" fmla="*/ 2318657 w 2772229"/>
                  <a:gd name="connsiteY6" fmla="*/ 533166 h 1886623"/>
                  <a:gd name="connsiteX7" fmla="*/ 2772229 w 2772229"/>
                  <a:gd name="connsiteY7" fmla="*/ 1886623 h 1886623"/>
                  <a:gd name="connsiteX0" fmla="*/ 0 w 2456543"/>
                  <a:gd name="connsiteY0" fmla="*/ 1367738 h 1886623"/>
                  <a:gd name="connsiteX1" fmla="*/ 395514 w 2456543"/>
                  <a:gd name="connsiteY1" fmla="*/ 3395 h 1886623"/>
                  <a:gd name="connsiteX2" fmla="*/ 787400 w 2456543"/>
                  <a:gd name="connsiteY2" fmla="*/ 961338 h 1886623"/>
                  <a:gd name="connsiteX3" fmla="*/ 1077686 w 2456543"/>
                  <a:gd name="connsiteY3" fmla="*/ 351738 h 1886623"/>
                  <a:gd name="connsiteX4" fmla="*/ 1516743 w 2456543"/>
                  <a:gd name="connsiteY4" fmla="*/ 1491109 h 1886623"/>
                  <a:gd name="connsiteX5" fmla="*/ 2002971 w 2456543"/>
                  <a:gd name="connsiteY5" fmla="*/ 533166 h 1886623"/>
                  <a:gd name="connsiteX6" fmla="*/ 2456543 w 2456543"/>
                  <a:gd name="connsiteY6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56543" h="1886623">
                    <a:moveTo>
                      <a:pt x="0" y="1367738"/>
                    </a:moveTo>
                    <a:cubicBezTo>
                      <a:pt x="118533" y="1221991"/>
                      <a:pt x="264281" y="71128"/>
                      <a:pt x="395514" y="3395"/>
                    </a:cubicBezTo>
                    <a:cubicBezTo>
                      <a:pt x="526747" y="-64338"/>
                      <a:pt x="673705" y="903281"/>
                      <a:pt x="787400" y="961338"/>
                    </a:cubicBezTo>
                    <a:cubicBezTo>
                      <a:pt x="901095" y="1019395"/>
                      <a:pt x="956129" y="263443"/>
                      <a:pt x="1077686" y="351738"/>
                    </a:cubicBezTo>
                    <a:cubicBezTo>
                      <a:pt x="1199243" y="440033"/>
                      <a:pt x="1362529" y="1460871"/>
                      <a:pt x="1516743" y="1491109"/>
                    </a:cubicBezTo>
                    <a:cubicBezTo>
                      <a:pt x="1670957" y="1521347"/>
                      <a:pt x="1846338" y="467247"/>
                      <a:pt x="2002971" y="533166"/>
                    </a:cubicBezTo>
                    <a:cubicBezTo>
                      <a:pt x="2159604" y="599085"/>
                      <a:pt x="2308073" y="1242854"/>
                      <a:pt x="2456543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63" name="Rectangle 16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2050">
                  <a:alpha val="60000"/>
                </a:srgbClr>
              </a:gs>
              <a:gs pos="100000">
                <a:srgbClr val="002050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graphicFrame>
        <p:nvGraphicFramePr>
          <p:cNvPr id="11" name="Object 10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2531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1" name="Object 10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2531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47264496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 noChangeAspect="1"/>
          </p:cNvSpPr>
          <p:nvPr>
            <p:ph type="title"/>
          </p:nvPr>
        </p:nvSpPr>
        <p:spPr>
          <a:xfrm>
            <a:off x="304800" y="358227"/>
            <a:ext cx="11582400" cy="88900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5867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304261"/>
            <a:ext cx="11582400" cy="4768519"/>
          </a:xfrm>
          <a:prstGeom prst="rect">
            <a:avLst/>
          </a:prstGeom>
        </p:spPr>
        <p:txBody>
          <a:bodyPr lIns="0" tIns="0" rIns="0" bIns="0"/>
          <a:lstStyle>
            <a:lvl1pPr marL="243834" indent="-243834">
              <a:lnSpc>
                <a:spcPct val="100000"/>
              </a:lnSpc>
              <a:spcBef>
                <a:spcPts val="667"/>
              </a:spcBef>
              <a:buFont typeface="Arial" charset="0"/>
              <a:buChar char="•"/>
              <a:defRPr sz="3200" baseline="0">
                <a:solidFill>
                  <a:schemeClr val="bg1"/>
                </a:solidFill>
                <a:latin typeface="Segoe UI Light"/>
                <a:cs typeface="Segoe UI Light"/>
              </a:defRPr>
            </a:lvl1pPr>
            <a:lvl2pPr marL="609585" indent="-243834">
              <a:lnSpc>
                <a:spcPct val="10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933">
                <a:solidFill>
                  <a:schemeClr val="bg1"/>
                </a:solidFill>
                <a:latin typeface="Segoe UI Light"/>
                <a:cs typeface="Segoe UI Light"/>
              </a:defRPr>
            </a:lvl2pPr>
            <a:lvl3pPr marL="914377" indent="-243834">
              <a:lnSpc>
                <a:spcPct val="100000"/>
              </a:lnSpc>
              <a:spcBef>
                <a:spcPts val="667"/>
              </a:spcBef>
              <a:buFont typeface="Arial"/>
              <a:buChar char="•"/>
              <a:defRPr sz="2667">
                <a:solidFill>
                  <a:schemeClr val="bg1"/>
                </a:solidFill>
                <a:latin typeface="Segoe UI Light"/>
                <a:cs typeface="Segoe UI Light"/>
              </a:defRPr>
            </a:lvl3pPr>
            <a:lvl4pPr marL="1219170" marR="0" indent="-243834" algn="l" defTabSz="1219170" rtl="0" eaLnBrk="1" fontAlgn="auto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2400" baseline="0">
                <a:solidFill>
                  <a:schemeClr val="bg1"/>
                </a:solidFill>
                <a:latin typeface="Segoe UI Light"/>
                <a:cs typeface="Segoe UI Light"/>
              </a:defRPr>
            </a:lvl4pPr>
            <a:lvl5pPr marL="2072588" indent="243834">
              <a:spcBef>
                <a:spcPts val="1333"/>
              </a:spcBef>
              <a:buFont typeface="Arial"/>
              <a:buChar char="•"/>
              <a:tabLst>
                <a:tab pos="2135664" algn="l"/>
              </a:tabLst>
              <a:defRPr sz="2667" baseline="0">
                <a:solidFill>
                  <a:schemeClr val="bg1"/>
                </a:solidFill>
                <a:latin typeface="Segoe UI Light"/>
                <a:cs typeface="Segoe UI Light"/>
              </a:defRPr>
            </a:lvl5pPr>
          </a:lstStyle>
          <a:p>
            <a:pPr lvl="0"/>
            <a:r>
              <a:rPr lang="en-US"/>
              <a:t>Bullet first level</a:t>
            </a:r>
          </a:p>
          <a:p>
            <a:pPr lvl="1"/>
            <a:r>
              <a:rPr lang="en-US"/>
              <a:t>Bullet second level</a:t>
            </a:r>
          </a:p>
          <a:p>
            <a:pPr lvl="2"/>
            <a:r>
              <a:rPr lang="en-US"/>
              <a:t>Bullet third level</a:t>
            </a:r>
          </a:p>
          <a:p>
            <a:pPr lvl="3"/>
            <a:r>
              <a:rPr lang="en-US"/>
              <a:t>Bullet fourth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97677" y="6379834"/>
            <a:ext cx="1395659" cy="1642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US" sz="1067">
                <a:solidFill>
                  <a:schemeClr val="bg1"/>
                </a:solidFill>
                <a:latin typeface="Segoe UI"/>
                <a:cs typeface="Segoe UI"/>
              </a:rPr>
              <a:t>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09530062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 noChangeAspect="1"/>
          </p:cNvSpPr>
          <p:nvPr>
            <p:ph type="title"/>
          </p:nvPr>
        </p:nvSpPr>
        <p:spPr>
          <a:xfrm>
            <a:off x="304800" y="358227"/>
            <a:ext cx="11582400" cy="88900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5867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297677" y="6379834"/>
            <a:ext cx="1395659" cy="1642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US" sz="1067">
                <a:solidFill>
                  <a:schemeClr val="bg1"/>
                </a:solidFill>
                <a:latin typeface="Segoe UI"/>
                <a:cs typeface="Segoe UI"/>
              </a:rPr>
              <a:t>Microsoft Confidentia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304261"/>
            <a:ext cx="5791200" cy="4768519"/>
          </a:xfrm>
          <a:prstGeom prst="rect">
            <a:avLst/>
          </a:prstGeom>
        </p:spPr>
        <p:txBody>
          <a:bodyPr lIns="0" tIns="0" rIns="0" bIns="0"/>
          <a:lstStyle>
            <a:lvl1pPr marL="243834" indent="-243834">
              <a:lnSpc>
                <a:spcPct val="100000"/>
              </a:lnSpc>
              <a:spcBef>
                <a:spcPts val="667"/>
              </a:spcBef>
              <a:buFont typeface="Arial" charset="0"/>
              <a:buChar char="•"/>
              <a:defRPr sz="3200" baseline="0">
                <a:solidFill>
                  <a:schemeClr val="bg1"/>
                </a:solidFill>
                <a:latin typeface="Segoe UI Light"/>
                <a:cs typeface="Segoe UI Light"/>
              </a:defRPr>
            </a:lvl1pPr>
            <a:lvl2pPr marL="609585" indent="-243834">
              <a:lnSpc>
                <a:spcPct val="10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933">
                <a:solidFill>
                  <a:schemeClr val="bg1"/>
                </a:solidFill>
                <a:latin typeface="Segoe UI Light"/>
                <a:cs typeface="Segoe UI Light"/>
              </a:defRPr>
            </a:lvl2pPr>
            <a:lvl3pPr marL="914377" indent="-243834">
              <a:lnSpc>
                <a:spcPct val="100000"/>
              </a:lnSpc>
              <a:spcBef>
                <a:spcPts val="667"/>
              </a:spcBef>
              <a:buFont typeface="Arial"/>
              <a:buChar char="•"/>
              <a:defRPr sz="2667">
                <a:solidFill>
                  <a:schemeClr val="bg1"/>
                </a:solidFill>
                <a:latin typeface="Segoe UI Light"/>
                <a:cs typeface="Segoe UI Light"/>
              </a:defRPr>
            </a:lvl3pPr>
            <a:lvl4pPr marL="1219170" marR="0" indent="-243834" algn="l" defTabSz="1219170" rtl="0" eaLnBrk="1" fontAlgn="auto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2400" baseline="0">
                <a:solidFill>
                  <a:schemeClr val="bg1"/>
                </a:solidFill>
                <a:latin typeface="Segoe UI Light"/>
                <a:cs typeface="Segoe UI Light"/>
              </a:defRPr>
            </a:lvl4pPr>
            <a:lvl5pPr marL="2072588" indent="243834">
              <a:spcBef>
                <a:spcPts val="1333"/>
              </a:spcBef>
              <a:buFont typeface="Arial"/>
              <a:buChar char="•"/>
              <a:tabLst>
                <a:tab pos="2135664" algn="l"/>
              </a:tabLst>
              <a:defRPr sz="2667" baseline="0">
                <a:solidFill>
                  <a:schemeClr val="bg1"/>
                </a:solidFill>
                <a:latin typeface="Segoe UI Light"/>
                <a:cs typeface="Segoe UI Light"/>
              </a:defRPr>
            </a:lvl5pPr>
          </a:lstStyle>
          <a:p>
            <a:pPr lvl="0"/>
            <a:r>
              <a:rPr lang="en-US"/>
              <a:t>Bullet first level</a:t>
            </a:r>
          </a:p>
          <a:p>
            <a:pPr lvl="1"/>
            <a:r>
              <a:rPr lang="en-US"/>
              <a:t>Bullet second level</a:t>
            </a:r>
          </a:p>
          <a:p>
            <a:pPr lvl="2"/>
            <a:r>
              <a:rPr lang="en-US"/>
              <a:t>Bullet third level</a:t>
            </a:r>
          </a:p>
          <a:p>
            <a:pPr lvl="3"/>
            <a:r>
              <a:rPr lang="en-US"/>
              <a:t>Bullet four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096000" y="1304261"/>
            <a:ext cx="5791200" cy="4768519"/>
          </a:xfrm>
          <a:prstGeom prst="rect">
            <a:avLst/>
          </a:prstGeom>
        </p:spPr>
        <p:txBody>
          <a:bodyPr lIns="0" tIns="0" rIns="0" bIns="0"/>
          <a:lstStyle>
            <a:lvl1pPr marL="243834" indent="-243834">
              <a:lnSpc>
                <a:spcPct val="100000"/>
              </a:lnSpc>
              <a:spcBef>
                <a:spcPts val="667"/>
              </a:spcBef>
              <a:buFont typeface="Arial" charset="0"/>
              <a:buChar char="•"/>
              <a:defRPr sz="3200" baseline="0">
                <a:solidFill>
                  <a:schemeClr val="bg1"/>
                </a:solidFill>
                <a:latin typeface="Segoe UI Light"/>
                <a:cs typeface="Segoe UI Light"/>
              </a:defRPr>
            </a:lvl1pPr>
            <a:lvl2pPr marL="609585" indent="-243834">
              <a:lnSpc>
                <a:spcPct val="10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933">
                <a:solidFill>
                  <a:schemeClr val="bg1"/>
                </a:solidFill>
                <a:latin typeface="Segoe UI Light"/>
                <a:cs typeface="Segoe UI Light"/>
              </a:defRPr>
            </a:lvl2pPr>
            <a:lvl3pPr marL="914377" indent="-243834">
              <a:lnSpc>
                <a:spcPct val="100000"/>
              </a:lnSpc>
              <a:spcBef>
                <a:spcPts val="667"/>
              </a:spcBef>
              <a:buFont typeface="Arial"/>
              <a:buChar char="•"/>
              <a:defRPr sz="2667">
                <a:solidFill>
                  <a:schemeClr val="bg1"/>
                </a:solidFill>
                <a:latin typeface="Segoe UI Light"/>
                <a:cs typeface="Segoe UI Light"/>
              </a:defRPr>
            </a:lvl3pPr>
            <a:lvl4pPr marL="1219170" marR="0" indent="-243834" algn="l" defTabSz="1219170" rtl="0" eaLnBrk="1" fontAlgn="auto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2400" baseline="0">
                <a:solidFill>
                  <a:schemeClr val="bg1"/>
                </a:solidFill>
                <a:latin typeface="Segoe UI Light"/>
                <a:cs typeface="Segoe UI Light"/>
              </a:defRPr>
            </a:lvl4pPr>
            <a:lvl5pPr marL="2072588" indent="243834">
              <a:spcBef>
                <a:spcPts val="1333"/>
              </a:spcBef>
              <a:buFont typeface="Arial"/>
              <a:buChar char="•"/>
              <a:tabLst>
                <a:tab pos="2135664" algn="l"/>
              </a:tabLst>
              <a:defRPr sz="2667" baseline="0">
                <a:solidFill>
                  <a:schemeClr val="bg1"/>
                </a:solidFill>
                <a:latin typeface="Segoe UI Light"/>
                <a:cs typeface="Segoe UI Light"/>
              </a:defRPr>
            </a:lvl5pPr>
          </a:lstStyle>
          <a:p>
            <a:pPr lvl="0"/>
            <a:r>
              <a:rPr lang="en-US"/>
              <a:t>Bullet first level</a:t>
            </a:r>
          </a:p>
          <a:p>
            <a:pPr lvl="1"/>
            <a:r>
              <a:rPr lang="en-US"/>
              <a:t>Bullet second level</a:t>
            </a:r>
          </a:p>
          <a:p>
            <a:pPr lvl="2"/>
            <a:r>
              <a:rPr lang="en-US"/>
              <a:t>Bullet third level</a:t>
            </a:r>
          </a:p>
          <a:p>
            <a:pPr lvl="3"/>
            <a:r>
              <a:rPr lang="en-US"/>
              <a:t>Bullet fourth level</a:t>
            </a:r>
          </a:p>
        </p:txBody>
      </p:sp>
    </p:spTree>
    <p:extLst>
      <p:ext uri="{BB962C8B-B14F-4D97-AF65-F5344CB8AC3E}">
        <p14:creationId xmlns:p14="http://schemas.microsoft.com/office/powerpoint/2010/main" val="2607448073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Shape 58"/>
          <p:cNvSpPr txBox="1">
            <a:spLocks noGrp="1"/>
          </p:cNvSpPr>
          <p:nvPr>
            <p:ph type="body" idx="1"/>
          </p:nvPr>
        </p:nvSpPr>
        <p:spPr>
          <a:xfrm>
            <a:off x="269240" y="1189177"/>
            <a:ext cx="11653600" cy="4667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/>
          <a:lstStyle>
            <a:lvl1pPr marL="609585" marR="0" lvl="0" indent="-423323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L="1219170" marR="0" lvl="1" indent="-397923" algn="l" rtl="0">
              <a:lnSpc>
                <a:spcPct val="9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828754" marR="0" lvl="2" indent="-380990" algn="l" rtl="0">
              <a:lnSpc>
                <a:spcPct val="9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1467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2438339" marR="0" lvl="3" indent="-372524" algn="l" rtl="0">
              <a:lnSpc>
                <a:spcPct val="9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3047924" marR="0" lvl="4" indent="-372524" algn="l" rtl="0">
              <a:lnSpc>
                <a:spcPct val="9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3657509" marR="0" lvl="5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4267093" marR="0" lvl="6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4876678" marR="0" lvl="7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5486263" marR="0" lvl="8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269240" y="289513"/>
            <a:ext cx="11656000" cy="8032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Quattrocento Sans"/>
              <a:buNone/>
              <a:defRPr sz="4800" b="0" i="0" u="none" strike="noStrike" cap="none">
                <a:solidFill>
                  <a:schemeClr val="dk2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323765638"/>
      </p:ext>
    </p:extLst>
  </p:cSld>
  <p:clrMapOvr>
    <a:masterClrMapping/>
  </p:clrMapOvr>
  <p:transition>
    <p:fade/>
  </p:transition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1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2982008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3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4634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46696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3906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09947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6583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65684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9298279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 anchor="ctr"/>
          <a:lstStyle>
            <a:lvl1pPr marL="0" algn="ctr" defTabSz="91401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353" b="0" kern="1200" cap="all" spc="800" baseline="0" dirty="0">
                <a:ln w="3175">
                  <a:noFill/>
                </a:ln>
                <a:solidFill>
                  <a:srgbClr val="0078D7"/>
                </a:solidFill>
                <a:effectLst/>
                <a:latin typeface="Segoe UI Light" charset="0"/>
                <a:ea typeface="+mn-ea"/>
                <a:cs typeface="Segoe UI Light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8D0D8F9C-9D73-432D-8577-60228C3C0A12}"/>
              </a:ext>
            </a:extLst>
          </p:cNvPr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263393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8457315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370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708189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60915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6523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02055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0302" y="289511"/>
            <a:ext cx="6904778" cy="899665"/>
          </a:xfrm>
        </p:spPr>
        <p:txBody>
          <a:bodyPr/>
          <a:lstStyle>
            <a:lvl1pPr>
              <a:defRPr sz="392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20303" y="4773828"/>
            <a:ext cx="6904016" cy="1793104"/>
          </a:xfrm>
        </p:spPr>
        <p:txBody>
          <a:bodyPr wrap="square">
            <a:noAutofit/>
          </a:bodyPr>
          <a:lstStyle>
            <a:lvl1pPr marL="0" indent="0">
              <a:spcBef>
                <a:spcPts val="1765"/>
              </a:spcBef>
              <a:buNone/>
              <a:defRPr sz="1961">
                <a:latin typeface="+mn-lt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Image of Ignite app on a Windows Device." title="Ignite event image">
            <a:extLst>
              <a:ext uri="{FF2B5EF4-FFF2-40B4-BE49-F238E27FC236}">
                <a16:creationId xmlns:a16="http://schemas.microsoft.com/office/drawing/2014/main" id="{E803C22C-E970-4ADA-A60C-5127C1C2C1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19" r="5881"/>
          <a:stretch/>
        </p:blipFill>
        <p:spPr>
          <a:xfrm>
            <a:off x="0" y="-1"/>
            <a:ext cx="4828867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145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35564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4082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83377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1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2982008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3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30224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bg>
      <p:bgPr>
        <a:solidFill>
          <a:srgbClr val="D2D2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205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/>
          <p:cNvSpPr>
            <a:spLocks noGrp="1" noChangeAspect="1"/>
          </p:cNvSpPr>
          <p:nvPr>
            <p:ph type="title"/>
          </p:nvPr>
        </p:nvSpPr>
        <p:spPr>
          <a:xfrm>
            <a:off x="213422" y="2746094"/>
            <a:ext cx="11765156" cy="2315435"/>
          </a:xfrm>
          <a:prstGeom prst="rect">
            <a:avLst/>
          </a:prstGeom>
        </p:spPr>
        <p:txBody>
          <a:bodyPr lIns="91440" tIns="91440" bIns="91440" anchor="t"/>
          <a:lstStyle>
            <a:lvl1pPr algn="l">
              <a:defRPr sz="5998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7272345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3F7917-2784-4EB3-A54D-3B8C8F513F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660A789-C7A4-440A-969D-25A4EC3328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CAA607-2F02-4D3B-8255-F405C4B853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5-09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6BE0FB-3F75-4E2D-BF5C-98DC997295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1BE56F-BB96-4D48-9397-B042E386B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6021285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BB64C7-0115-4B0D-9006-66DC391D43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10B0B0-480F-4A45-9106-EDE15E3C94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137FF6-08DD-446F-84A5-B518045340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5-09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F26919-5CA5-4C53-A2F1-F670393FFD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7FA11D-FB6C-4FB9-BEC3-ED85A2A59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93749436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75A418-0AE6-4C20-B863-D9A75F0342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42AE82-B0B5-4694-9EDB-A29A042B34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48735C-A3E8-44AD-B3F6-3F42EFBEBB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5-09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E3B71E-D5AA-4090-9607-B23B76D39E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6C8D4D-3467-4636-9770-43D0633187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92485101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CA000E-FD89-4F8F-A42A-E670D8878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BDAA16-4B91-4FFE-BE76-677B0B3F9C4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FD5EF01-6400-45C7-A5F1-AD1ABA3588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BCB28D4-C852-4D20-854F-2AF786BE64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5-09-2019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D9F9265-5ACE-461C-9732-DDD1A38D84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5922F03-F447-4CD3-A488-5B0DEAAC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77945195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64ABD9-EE01-4268-87DC-1F3899BDAD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B10D19-26C8-451A-981C-D4DCAD7788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CB04DD-65B4-470E-9A20-54FD81C82B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18D828-A7DE-4DE7-A373-ABE9F0E87C8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BDA3D15-AAF6-4425-B088-BCCB625FFC2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C459A8F-D15A-4F03-8FE2-F1A581962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5-09-2019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CE4F7FC-85D8-4E14-8A73-0380EB88E6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58ED36-B9CF-4B20-B236-B6339DAE75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65191199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C9CE1C-39C6-49A5-BCF1-01EAB92D6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4E604C-D60A-48D7-80F0-CF1622A725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5-09-2019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698A8E-120F-4F59-8D21-BD662CDB4A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0F9B65-0F94-4BFB-9103-85BB412D7E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46048556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D2CDD6F-A6B4-4270-A455-273C15CCF4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5-09-2019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0525162-E0E5-423A-B508-4D09AE1540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0023BD-3AF5-4527-B373-1DABDB9D43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55882803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B6FF2D-727B-4178-91CB-06153A4455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A95358-9DF2-4688-90F4-9A4CD6E717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665BE2-DD83-4F2E-9F92-6CF7826FF87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E40F1F-A84C-4750-9425-325D45E082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5-09-2019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381C37C-D76D-4FB7-8CE9-99743E788E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8A41499-0149-490C-BEE2-CF7E184E99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99363073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71B106-2C16-47CF-A5F8-78F576079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A467F68-3AFF-4B00-8F59-F893CE500E3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F97233-F5EC-4C0F-999E-390353FA6F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99004D-E4BD-4D10-8E8D-7EBE499BE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5-09-2019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C4DE27-C44C-4527-A8D3-AB0EBD7408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A6A608-F02A-4205-9952-5BE249F51B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0797742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376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E8C16-D90E-4F10-99EA-2615B5CD69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418A40A-9CF2-45E7-AE97-027BE096460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67D9DF-D956-4051-8454-6C069C9BD1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5-09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D628F9-2790-420A-A02B-FB620E1D8B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0CD679-F404-4183-A51D-F90E17C724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98890415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1B6F22E-71E0-4AE2-ADEF-C6E46FA220C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863ACC8-CA2D-4304-A31D-41FC8F1D22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7E4686-0944-453F-96B7-3D9B76BDAF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25-09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D5D9E9-86BA-4C05-A8F0-12B3360A15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A3A62F-AD8D-400E-8A1A-017147F07B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79520638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5176" cy="73152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849056" y="1905000"/>
            <a:ext cx="3963432" cy="2324684"/>
          </a:xfrm>
        </p:spPr>
        <p:txBody>
          <a:bodyPr>
            <a:noAutofit/>
          </a:bodyPr>
          <a:lstStyle>
            <a:lvl1pPr>
              <a:defRPr sz="138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Q&amp;A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69345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49375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50056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2274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2896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311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4933853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1698134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8949097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38259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206390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51513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7340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01511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0302" y="289511"/>
            <a:ext cx="6904778" cy="899665"/>
          </a:xfrm>
        </p:spPr>
        <p:txBody>
          <a:bodyPr/>
          <a:lstStyle>
            <a:lvl1pPr>
              <a:defRPr sz="392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20303" y="4773828"/>
            <a:ext cx="6904016" cy="1793104"/>
          </a:xfrm>
        </p:spPr>
        <p:txBody>
          <a:bodyPr wrap="square">
            <a:noAutofit/>
          </a:bodyPr>
          <a:lstStyle>
            <a:lvl1pPr marL="0" indent="0">
              <a:spcBef>
                <a:spcPts val="1765"/>
              </a:spcBef>
              <a:buNone/>
              <a:defRPr sz="1961">
                <a:latin typeface="+mn-lt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Image of Ignite app on a Windows Device." title="Ignite event image">
            <a:extLst>
              <a:ext uri="{FF2B5EF4-FFF2-40B4-BE49-F238E27FC236}">
                <a16:creationId xmlns:a16="http://schemas.microsoft.com/office/drawing/2014/main" id="{E803C22C-E970-4ADA-A60C-5127C1C2C1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19" r="5881"/>
          <a:stretch/>
        </p:blipFill>
        <p:spPr>
          <a:xfrm>
            <a:off x="0" y="-1"/>
            <a:ext cx="4828867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5066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51167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2036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02648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48603705"/>
      </p:ext>
    </p:extLst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bg>
      <p:bgPr>
        <a:solidFill>
          <a:srgbClr val="D2D2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205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/>
          <p:cNvSpPr>
            <a:spLocks noGrp="1" noChangeAspect="1"/>
          </p:cNvSpPr>
          <p:nvPr>
            <p:ph type="title"/>
          </p:nvPr>
        </p:nvSpPr>
        <p:spPr>
          <a:xfrm>
            <a:off x="213422" y="2746094"/>
            <a:ext cx="11765156" cy="2315435"/>
          </a:xfrm>
          <a:prstGeom prst="rect">
            <a:avLst/>
          </a:prstGeom>
        </p:spPr>
        <p:txBody>
          <a:bodyPr lIns="91440" tIns="91440" bIns="91440" anchor="t"/>
          <a:lstStyle>
            <a:lvl1pPr algn="l">
              <a:defRPr sz="5998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46825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sitting at a table using a computer&#10;&#10;Description generated with high confidence">
            <a:extLst>
              <a:ext uri="{FF2B5EF4-FFF2-40B4-BE49-F238E27FC236}">
                <a16:creationId xmlns:a16="http://schemas.microsoft.com/office/drawing/2014/main" id="{AC14534E-46CD-4303-B862-80358F1B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" y="0"/>
            <a:ext cx="12192000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-2" y="-5304"/>
            <a:ext cx="4526282" cy="6863304"/>
          </a:xfrm>
          <a:prstGeom prst="rect">
            <a:avLst/>
          </a:prstGeom>
          <a:gradFill>
            <a:gsLst>
              <a:gs pos="0">
                <a:schemeClr val="bg1">
                  <a:alpha val="71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292" y="256398"/>
            <a:ext cx="1829371" cy="673018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7682" y="2084172"/>
            <a:ext cx="6274974" cy="3586208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705" spc="-98" baseline="0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7"/>
            <a:ext cx="6276530" cy="651821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632304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07571" y="80690"/>
            <a:ext cx="1317744" cy="12372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89642" rIns="89642" bIns="8964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176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5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0852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2466698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650D8C5-8B94-42F7-99D2-EE6C08F638E0}"/>
              </a:ext>
            </a:extLst>
          </p:cNvPr>
          <p:cNvSpPr/>
          <p:nvPr userDrawn="1"/>
        </p:nvSpPr>
        <p:spPr bwMode="auto">
          <a:xfrm>
            <a:off x="0" y="1458686"/>
            <a:ext cx="12192000" cy="5399314"/>
          </a:xfrm>
          <a:prstGeom prst="rect">
            <a:avLst/>
          </a:prstGeom>
          <a:solidFill>
            <a:srgbClr val="F7F7F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3881311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870440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3" y="2629143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3" y="2914177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3" y="3199211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4" y="1774041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3" y="2059075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4" y="2344109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3" y="918939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3" y="1203973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3" y="1489007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4" y="63837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3" y="348871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4" y="633905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3" y="6049551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3" y="6334585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3" y="6619611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4" y="5194449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3" y="5479483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4" y="5764517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3" y="4339347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3" y="4624381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3" y="4909415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4" y="3484245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3" y="3769279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4" y="4054313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861236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729106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2178837"/>
      </p:ext>
    </p:extLst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9015906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7726618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alkin (event name)">
    <p:bg bwMode="gray">
      <p:bgPr>
        <a:solidFill>
          <a:srgbClr val="0086A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/>
          <p:nvPr userDrawn="1"/>
        </p:nvGrpSpPr>
        <p:grpSpPr>
          <a:xfrm>
            <a:off x="8982924" y="4569925"/>
            <a:ext cx="501126" cy="772031"/>
            <a:chOff x="8189913" y="3194051"/>
            <a:chExt cx="511175" cy="787400"/>
          </a:xfrm>
        </p:grpSpPr>
        <p:sp>
          <p:nvSpPr>
            <p:cNvPr id="69" name="Freeform 65"/>
            <p:cNvSpPr>
              <a:spLocks/>
            </p:cNvSpPr>
            <p:nvPr userDrawn="1"/>
          </p:nvSpPr>
          <p:spPr bwMode="auto">
            <a:xfrm>
              <a:off x="8361363" y="3390901"/>
              <a:ext cx="169863" cy="96838"/>
            </a:xfrm>
            <a:custGeom>
              <a:avLst/>
              <a:gdLst>
                <a:gd name="T0" fmla="*/ 107 w 107"/>
                <a:gd name="T1" fmla="*/ 30 h 61"/>
                <a:gd name="T2" fmla="*/ 53 w 107"/>
                <a:gd name="T3" fmla="*/ 0 h 61"/>
                <a:gd name="T4" fmla="*/ 0 w 107"/>
                <a:gd name="T5" fmla="*/ 30 h 61"/>
                <a:gd name="T6" fmla="*/ 54 w 107"/>
                <a:gd name="T7" fmla="*/ 61 h 61"/>
                <a:gd name="T8" fmla="*/ 107 w 107"/>
                <a:gd name="T9" fmla="*/ 3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61">
                  <a:moveTo>
                    <a:pt x="107" y="30"/>
                  </a:moveTo>
                  <a:lnTo>
                    <a:pt x="53" y="0"/>
                  </a:lnTo>
                  <a:lnTo>
                    <a:pt x="0" y="30"/>
                  </a:lnTo>
                  <a:lnTo>
                    <a:pt x="54" y="61"/>
                  </a:lnTo>
                  <a:lnTo>
                    <a:pt x="107" y="3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0" name="Freeform 66"/>
            <p:cNvSpPr>
              <a:spLocks/>
            </p:cNvSpPr>
            <p:nvPr userDrawn="1"/>
          </p:nvSpPr>
          <p:spPr bwMode="auto">
            <a:xfrm>
              <a:off x="8447088" y="3340101"/>
              <a:ext cx="254000" cy="344488"/>
            </a:xfrm>
            <a:custGeom>
              <a:avLst/>
              <a:gdLst>
                <a:gd name="T0" fmla="*/ 0 w 160"/>
                <a:gd name="T1" fmla="*/ 217 h 217"/>
                <a:gd name="T2" fmla="*/ 160 w 160"/>
                <a:gd name="T3" fmla="*/ 124 h 217"/>
                <a:gd name="T4" fmla="*/ 160 w 160"/>
                <a:gd name="T5" fmla="*/ 0 h 217"/>
                <a:gd name="T6" fmla="*/ 0 w 160"/>
                <a:gd name="T7" fmla="*/ 93 h 217"/>
                <a:gd name="T8" fmla="*/ 0 w 160"/>
                <a:gd name="T9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217">
                  <a:moveTo>
                    <a:pt x="0" y="217"/>
                  </a:moveTo>
                  <a:lnTo>
                    <a:pt x="160" y="124"/>
                  </a:lnTo>
                  <a:lnTo>
                    <a:pt x="160" y="0"/>
                  </a:lnTo>
                  <a:lnTo>
                    <a:pt x="0" y="93"/>
                  </a:lnTo>
                  <a:lnTo>
                    <a:pt x="0" y="217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1" name="Freeform 67"/>
            <p:cNvSpPr>
              <a:spLocks/>
            </p:cNvSpPr>
            <p:nvPr userDrawn="1"/>
          </p:nvSpPr>
          <p:spPr bwMode="auto">
            <a:xfrm>
              <a:off x="8274050" y="3389313"/>
              <a:ext cx="173038" cy="296863"/>
            </a:xfrm>
            <a:custGeom>
              <a:avLst/>
              <a:gdLst>
                <a:gd name="T0" fmla="*/ 109 w 109"/>
                <a:gd name="T1" fmla="*/ 187 h 187"/>
                <a:gd name="T2" fmla="*/ 0 w 109"/>
                <a:gd name="T3" fmla="*/ 124 h 187"/>
                <a:gd name="T4" fmla="*/ 0 w 109"/>
                <a:gd name="T5" fmla="*/ 0 h 187"/>
                <a:gd name="T6" fmla="*/ 109 w 109"/>
                <a:gd name="T7" fmla="*/ 62 h 187"/>
                <a:gd name="T8" fmla="*/ 109 w 109"/>
                <a:gd name="T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187">
                  <a:moveTo>
                    <a:pt x="109" y="187"/>
                  </a:moveTo>
                  <a:lnTo>
                    <a:pt x="0" y="124"/>
                  </a:lnTo>
                  <a:lnTo>
                    <a:pt x="0" y="0"/>
                  </a:lnTo>
                  <a:lnTo>
                    <a:pt x="109" y="62"/>
                  </a:lnTo>
                  <a:lnTo>
                    <a:pt x="109" y="187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2" name="Freeform 68"/>
            <p:cNvSpPr>
              <a:spLocks/>
            </p:cNvSpPr>
            <p:nvPr userDrawn="1"/>
          </p:nvSpPr>
          <p:spPr bwMode="auto">
            <a:xfrm>
              <a:off x="8189913" y="3635376"/>
              <a:ext cx="150813" cy="233363"/>
            </a:xfrm>
            <a:custGeom>
              <a:avLst/>
              <a:gdLst>
                <a:gd name="T0" fmla="*/ 52 w 93"/>
                <a:gd name="T1" fmla="*/ 30 h 145"/>
                <a:gd name="T2" fmla="*/ 0 w 93"/>
                <a:gd name="T3" fmla="*/ 0 h 145"/>
                <a:gd name="T4" fmla="*/ 0 w 93"/>
                <a:gd name="T5" fmla="*/ 122 h 145"/>
                <a:gd name="T6" fmla="*/ 20 w 93"/>
                <a:gd name="T7" fmla="*/ 119 h 145"/>
                <a:gd name="T8" fmla="*/ 81 w 93"/>
                <a:gd name="T9" fmla="*/ 145 h 145"/>
                <a:gd name="T10" fmla="*/ 93 w 93"/>
                <a:gd name="T11" fmla="*/ 117 h 145"/>
                <a:gd name="T12" fmla="*/ 52 w 93"/>
                <a:gd name="T13" fmla="*/ 93 h 145"/>
                <a:gd name="T14" fmla="*/ 52 w 93"/>
                <a:gd name="T15" fmla="*/ 3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145">
                  <a:moveTo>
                    <a:pt x="52" y="3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7" y="120"/>
                    <a:pt x="13" y="119"/>
                    <a:pt x="20" y="119"/>
                  </a:cubicBezTo>
                  <a:cubicBezTo>
                    <a:pt x="44" y="119"/>
                    <a:pt x="65" y="129"/>
                    <a:pt x="81" y="145"/>
                  </a:cubicBezTo>
                  <a:cubicBezTo>
                    <a:pt x="84" y="135"/>
                    <a:pt x="88" y="125"/>
                    <a:pt x="93" y="117"/>
                  </a:cubicBezTo>
                  <a:cubicBezTo>
                    <a:pt x="52" y="93"/>
                    <a:pt x="52" y="93"/>
                    <a:pt x="52" y="93"/>
                  </a:cubicBezTo>
                  <a:lnTo>
                    <a:pt x="52" y="3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3" name="Freeform 69"/>
            <p:cNvSpPr>
              <a:spLocks/>
            </p:cNvSpPr>
            <p:nvPr userDrawn="1"/>
          </p:nvSpPr>
          <p:spPr bwMode="auto">
            <a:xfrm>
              <a:off x="8447088" y="3536951"/>
              <a:ext cx="254000" cy="244475"/>
            </a:xfrm>
            <a:custGeom>
              <a:avLst/>
              <a:gdLst>
                <a:gd name="T0" fmla="*/ 0 w 160"/>
                <a:gd name="T1" fmla="*/ 154 h 154"/>
                <a:gd name="T2" fmla="*/ 160 w 160"/>
                <a:gd name="T3" fmla="*/ 62 h 154"/>
                <a:gd name="T4" fmla="*/ 160 w 160"/>
                <a:gd name="T5" fmla="*/ 0 h 154"/>
                <a:gd name="T6" fmla="*/ 0 w 160"/>
                <a:gd name="T7" fmla="*/ 94 h 154"/>
                <a:gd name="T8" fmla="*/ 0 w 160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154">
                  <a:moveTo>
                    <a:pt x="0" y="154"/>
                  </a:moveTo>
                  <a:lnTo>
                    <a:pt x="160" y="62"/>
                  </a:lnTo>
                  <a:lnTo>
                    <a:pt x="160" y="0"/>
                  </a:lnTo>
                  <a:lnTo>
                    <a:pt x="0" y="94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4" name="Freeform 70"/>
            <p:cNvSpPr>
              <a:spLocks/>
            </p:cNvSpPr>
            <p:nvPr userDrawn="1"/>
          </p:nvSpPr>
          <p:spPr bwMode="auto">
            <a:xfrm>
              <a:off x="8447088" y="3633788"/>
              <a:ext cx="254000" cy="347663"/>
            </a:xfrm>
            <a:custGeom>
              <a:avLst/>
              <a:gdLst>
                <a:gd name="T0" fmla="*/ 0 w 160"/>
                <a:gd name="T1" fmla="*/ 219 h 219"/>
                <a:gd name="T2" fmla="*/ 160 w 160"/>
                <a:gd name="T3" fmla="*/ 125 h 219"/>
                <a:gd name="T4" fmla="*/ 160 w 160"/>
                <a:gd name="T5" fmla="*/ 0 h 219"/>
                <a:gd name="T6" fmla="*/ 0 w 160"/>
                <a:gd name="T7" fmla="*/ 93 h 219"/>
                <a:gd name="T8" fmla="*/ 0 w 160"/>
                <a:gd name="T9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219">
                  <a:moveTo>
                    <a:pt x="0" y="219"/>
                  </a:moveTo>
                  <a:lnTo>
                    <a:pt x="160" y="125"/>
                  </a:lnTo>
                  <a:lnTo>
                    <a:pt x="160" y="0"/>
                  </a:lnTo>
                  <a:lnTo>
                    <a:pt x="0" y="93"/>
                  </a:lnTo>
                  <a:lnTo>
                    <a:pt x="0" y="21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5" name="Freeform 71"/>
            <p:cNvSpPr>
              <a:spLocks/>
            </p:cNvSpPr>
            <p:nvPr userDrawn="1"/>
          </p:nvSpPr>
          <p:spPr bwMode="auto">
            <a:xfrm>
              <a:off x="8189913" y="3824288"/>
              <a:ext cx="257175" cy="155575"/>
            </a:xfrm>
            <a:custGeom>
              <a:avLst/>
              <a:gdLst>
                <a:gd name="T0" fmla="*/ 158 w 158"/>
                <a:gd name="T1" fmla="*/ 37 h 96"/>
                <a:gd name="T2" fmla="*/ 158 w 158"/>
                <a:gd name="T3" fmla="*/ 37 h 96"/>
                <a:gd name="T4" fmla="*/ 93 w 158"/>
                <a:gd name="T5" fmla="*/ 0 h 96"/>
                <a:gd name="T6" fmla="*/ 81 w 158"/>
                <a:gd name="T7" fmla="*/ 28 h 96"/>
                <a:gd name="T8" fmla="*/ 20 w 158"/>
                <a:gd name="T9" fmla="*/ 2 h 96"/>
                <a:gd name="T10" fmla="*/ 0 w 158"/>
                <a:gd name="T11" fmla="*/ 5 h 96"/>
                <a:gd name="T12" fmla="*/ 0 w 158"/>
                <a:gd name="T13" fmla="*/ 5 h 96"/>
                <a:gd name="T14" fmla="*/ 158 w 158"/>
                <a:gd name="T15" fmla="*/ 96 h 96"/>
                <a:gd name="T16" fmla="*/ 158 w 158"/>
                <a:gd name="T17" fmla="*/ 96 h 96"/>
                <a:gd name="T18" fmla="*/ 158 w 158"/>
                <a:gd name="T19" fmla="*/ 3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96">
                  <a:moveTo>
                    <a:pt x="158" y="37"/>
                  </a:moveTo>
                  <a:cubicBezTo>
                    <a:pt x="158" y="37"/>
                    <a:pt x="158" y="37"/>
                    <a:pt x="158" y="37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88" y="8"/>
                    <a:pt x="84" y="18"/>
                    <a:pt x="81" y="28"/>
                  </a:cubicBezTo>
                  <a:cubicBezTo>
                    <a:pt x="65" y="12"/>
                    <a:pt x="44" y="2"/>
                    <a:pt x="20" y="2"/>
                  </a:cubicBezTo>
                  <a:cubicBezTo>
                    <a:pt x="13" y="2"/>
                    <a:pt x="7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58" y="96"/>
                    <a:pt x="158" y="96"/>
                    <a:pt x="158" y="96"/>
                  </a:cubicBezTo>
                  <a:cubicBezTo>
                    <a:pt x="158" y="96"/>
                    <a:pt x="158" y="96"/>
                    <a:pt x="158" y="96"/>
                  </a:cubicBezTo>
                  <a:lnTo>
                    <a:pt x="158" y="37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6" name="Freeform 72"/>
            <p:cNvSpPr>
              <a:spLocks/>
            </p:cNvSpPr>
            <p:nvPr userDrawn="1"/>
          </p:nvSpPr>
          <p:spPr bwMode="auto">
            <a:xfrm>
              <a:off x="8189913" y="3194051"/>
              <a:ext cx="511175" cy="587375"/>
            </a:xfrm>
            <a:custGeom>
              <a:avLst/>
              <a:gdLst>
                <a:gd name="T0" fmla="*/ 162 w 322"/>
                <a:gd name="T1" fmla="*/ 309 h 370"/>
                <a:gd name="T2" fmla="*/ 162 w 322"/>
                <a:gd name="T3" fmla="*/ 309 h 370"/>
                <a:gd name="T4" fmla="*/ 53 w 322"/>
                <a:gd name="T5" fmla="*/ 247 h 370"/>
                <a:gd name="T6" fmla="*/ 53 w 322"/>
                <a:gd name="T7" fmla="*/ 123 h 370"/>
                <a:gd name="T8" fmla="*/ 162 w 322"/>
                <a:gd name="T9" fmla="*/ 60 h 370"/>
                <a:gd name="T10" fmla="*/ 270 w 322"/>
                <a:gd name="T11" fmla="*/ 123 h 370"/>
                <a:gd name="T12" fmla="*/ 270 w 322"/>
                <a:gd name="T13" fmla="*/ 123 h 370"/>
                <a:gd name="T14" fmla="*/ 322 w 322"/>
                <a:gd name="T15" fmla="*/ 92 h 370"/>
                <a:gd name="T16" fmla="*/ 162 w 322"/>
                <a:gd name="T17" fmla="*/ 0 h 370"/>
                <a:gd name="T18" fmla="*/ 0 w 322"/>
                <a:gd name="T19" fmla="*/ 92 h 370"/>
                <a:gd name="T20" fmla="*/ 0 w 322"/>
                <a:gd name="T21" fmla="*/ 278 h 370"/>
                <a:gd name="T22" fmla="*/ 162 w 322"/>
                <a:gd name="T23" fmla="*/ 370 h 370"/>
                <a:gd name="T24" fmla="*/ 162 w 322"/>
                <a:gd name="T25" fmla="*/ 370 h 370"/>
                <a:gd name="T26" fmla="*/ 162 w 322"/>
                <a:gd name="T27" fmla="*/ 309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370">
                  <a:moveTo>
                    <a:pt x="162" y="309"/>
                  </a:moveTo>
                  <a:lnTo>
                    <a:pt x="162" y="309"/>
                  </a:lnTo>
                  <a:lnTo>
                    <a:pt x="53" y="247"/>
                  </a:lnTo>
                  <a:lnTo>
                    <a:pt x="53" y="123"/>
                  </a:lnTo>
                  <a:lnTo>
                    <a:pt x="162" y="60"/>
                  </a:lnTo>
                  <a:lnTo>
                    <a:pt x="270" y="123"/>
                  </a:lnTo>
                  <a:lnTo>
                    <a:pt x="270" y="123"/>
                  </a:lnTo>
                  <a:lnTo>
                    <a:pt x="322" y="92"/>
                  </a:lnTo>
                  <a:lnTo>
                    <a:pt x="162" y="0"/>
                  </a:lnTo>
                  <a:lnTo>
                    <a:pt x="0" y="92"/>
                  </a:lnTo>
                  <a:lnTo>
                    <a:pt x="0" y="278"/>
                  </a:lnTo>
                  <a:lnTo>
                    <a:pt x="162" y="370"/>
                  </a:lnTo>
                  <a:lnTo>
                    <a:pt x="162" y="370"/>
                  </a:lnTo>
                  <a:lnTo>
                    <a:pt x="162" y="30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82" name="Group 81"/>
          <p:cNvGrpSpPr/>
          <p:nvPr userDrawn="1"/>
        </p:nvGrpSpPr>
        <p:grpSpPr>
          <a:xfrm>
            <a:off x="5434576" y="4734915"/>
            <a:ext cx="449769" cy="695761"/>
            <a:chOff x="4570413" y="3209926"/>
            <a:chExt cx="458788" cy="709612"/>
          </a:xfrm>
        </p:grpSpPr>
        <p:sp>
          <p:nvSpPr>
            <p:cNvPr id="25" name="Freeform 21"/>
            <p:cNvSpPr>
              <a:spLocks/>
            </p:cNvSpPr>
            <p:nvPr userDrawn="1"/>
          </p:nvSpPr>
          <p:spPr bwMode="auto">
            <a:xfrm>
              <a:off x="4721225" y="3386138"/>
              <a:ext cx="153988" cy="88900"/>
            </a:xfrm>
            <a:custGeom>
              <a:avLst/>
              <a:gdLst>
                <a:gd name="T0" fmla="*/ 97 w 97"/>
                <a:gd name="T1" fmla="*/ 28 h 56"/>
                <a:gd name="T2" fmla="*/ 49 w 97"/>
                <a:gd name="T3" fmla="*/ 0 h 56"/>
                <a:gd name="T4" fmla="*/ 0 w 97"/>
                <a:gd name="T5" fmla="*/ 28 h 56"/>
                <a:gd name="T6" fmla="*/ 49 w 97"/>
                <a:gd name="T7" fmla="*/ 56 h 56"/>
                <a:gd name="T8" fmla="*/ 97 w 97"/>
                <a:gd name="T9" fmla="*/ 2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56">
                  <a:moveTo>
                    <a:pt x="97" y="28"/>
                  </a:moveTo>
                  <a:lnTo>
                    <a:pt x="49" y="0"/>
                  </a:lnTo>
                  <a:lnTo>
                    <a:pt x="0" y="28"/>
                  </a:lnTo>
                  <a:lnTo>
                    <a:pt x="49" y="56"/>
                  </a:lnTo>
                  <a:lnTo>
                    <a:pt x="97" y="28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" name="Freeform 22"/>
            <p:cNvSpPr>
              <a:spLocks/>
            </p:cNvSpPr>
            <p:nvPr userDrawn="1"/>
          </p:nvSpPr>
          <p:spPr bwMode="auto">
            <a:xfrm>
              <a:off x="4799013" y="3341688"/>
              <a:ext cx="230188" cy="311150"/>
            </a:xfrm>
            <a:custGeom>
              <a:avLst/>
              <a:gdLst>
                <a:gd name="T0" fmla="*/ 0 w 145"/>
                <a:gd name="T1" fmla="*/ 196 h 196"/>
                <a:gd name="T2" fmla="*/ 145 w 145"/>
                <a:gd name="T3" fmla="*/ 111 h 196"/>
                <a:gd name="T4" fmla="*/ 145 w 145"/>
                <a:gd name="T5" fmla="*/ 0 h 196"/>
                <a:gd name="T6" fmla="*/ 0 w 145"/>
                <a:gd name="T7" fmla="*/ 84 h 196"/>
                <a:gd name="T8" fmla="*/ 0 w 145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96">
                  <a:moveTo>
                    <a:pt x="0" y="196"/>
                  </a:moveTo>
                  <a:lnTo>
                    <a:pt x="145" y="111"/>
                  </a:lnTo>
                  <a:lnTo>
                    <a:pt x="145" y="0"/>
                  </a:lnTo>
                  <a:lnTo>
                    <a:pt x="0" y="84"/>
                  </a:lnTo>
                  <a:lnTo>
                    <a:pt x="0" y="19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" name="Freeform 23"/>
            <p:cNvSpPr>
              <a:spLocks/>
            </p:cNvSpPr>
            <p:nvPr userDrawn="1"/>
          </p:nvSpPr>
          <p:spPr bwMode="auto">
            <a:xfrm>
              <a:off x="4645025" y="3386138"/>
              <a:ext cx="153988" cy="266700"/>
            </a:xfrm>
            <a:custGeom>
              <a:avLst/>
              <a:gdLst>
                <a:gd name="T0" fmla="*/ 97 w 97"/>
                <a:gd name="T1" fmla="*/ 168 h 168"/>
                <a:gd name="T2" fmla="*/ 0 w 97"/>
                <a:gd name="T3" fmla="*/ 112 h 168"/>
                <a:gd name="T4" fmla="*/ 0 w 97"/>
                <a:gd name="T5" fmla="*/ 0 h 168"/>
                <a:gd name="T6" fmla="*/ 97 w 97"/>
                <a:gd name="T7" fmla="*/ 56 h 168"/>
                <a:gd name="T8" fmla="*/ 97 w 97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68">
                  <a:moveTo>
                    <a:pt x="97" y="168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97" y="56"/>
                  </a:lnTo>
                  <a:lnTo>
                    <a:pt x="97" y="168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4570413" y="3606801"/>
              <a:ext cx="134938" cy="212725"/>
            </a:xfrm>
            <a:custGeom>
              <a:avLst/>
              <a:gdLst>
                <a:gd name="T0" fmla="*/ 46 w 84"/>
                <a:gd name="T1" fmla="*/ 27 h 131"/>
                <a:gd name="T2" fmla="*/ 0 w 84"/>
                <a:gd name="T3" fmla="*/ 0 h 131"/>
                <a:gd name="T4" fmla="*/ 0 w 84"/>
                <a:gd name="T5" fmla="*/ 110 h 131"/>
                <a:gd name="T6" fmla="*/ 17 w 84"/>
                <a:gd name="T7" fmla="*/ 108 h 131"/>
                <a:gd name="T8" fmla="*/ 72 w 84"/>
                <a:gd name="T9" fmla="*/ 131 h 131"/>
                <a:gd name="T10" fmla="*/ 84 w 84"/>
                <a:gd name="T11" fmla="*/ 105 h 131"/>
                <a:gd name="T12" fmla="*/ 46 w 84"/>
                <a:gd name="T13" fmla="*/ 84 h 131"/>
                <a:gd name="T14" fmla="*/ 46 w 84"/>
                <a:gd name="T15" fmla="*/ 2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31">
                  <a:moveTo>
                    <a:pt x="46" y="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5" y="108"/>
                    <a:pt x="11" y="108"/>
                    <a:pt x="17" y="108"/>
                  </a:cubicBezTo>
                  <a:cubicBezTo>
                    <a:pt x="39" y="108"/>
                    <a:pt x="58" y="117"/>
                    <a:pt x="72" y="131"/>
                  </a:cubicBezTo>
                  <a:cubicBezTo>
                    <a:pt x="75" y="122"/>
                    <a:pt x="79" y="113"/>
                    <a:pt x="84" y="105"/>
                  </a:cubicBezTo>
                  <a:cubicBezTo>
                    <a:pt x="46" y="84"/>
                    <a:pt x="46" y="84"/>
                    <a:pt x="46" y="84"/>
                  </a:cubicBezTo>
                  <a:lnTo>
                    <a:pt x="46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9" name="Freeform 25"/>
            <p:cNvSpPr>
              <a:spLocks/>
            </p:cNvSpPr>
            <p:nvPr userDrawn="1"/>
          </p:nvSpPr>
          <p:spPr bwMode="auto">
            <a:xfrm>
              <a:off x="4799013" y="3517901"/>
              <a:ext cx="230188" cy="222250"/>
            </a:xfrm>
            <a:custGeom>
              <a:avLst/>
              <a:gdLst>
                <a:gd name="T0" fmla="*/ 0 w 145"/>
                <a:gd name="T1" fmla="*/ 140 h 140"/>
                <a:gd name="T2" fmla="*/ 145 w 145"/>
                <a:gd name="T3" fmla="*/ 56 h 140"/>
                <a:gd name="T4" fmla="*/ 145 w 145"/>
                <a:gd name="T5" fmla="*/ 0 h 140"/>
                <a:gd name="T6" fmla="*/ 0 w 145"/>
                <a:gd name="T7" fmla="*/ 86 h 140"/>
                <a:gd name="T8" fmla="*/ 0 w 145"/>
                <a:gd name="T9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40">
                  <a:moveTo>
                    <a:pt x="0" y="140"/>
                  </a:moveTo>
                  <a:lnTo>
                    <a:pt x="145" y="56"/>
                  </a:lnTo>
                  <a:lnTo>
                    <a:pt x="145" y="0"/>
                  </a:lnTo>
                  <a:lnTo>
                    <a:pt x="0" y="86"/>
                  </a:lnTo>
                  <a:lnTo>
                    <a:pt x="0" y="140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0" name="Freeform 26"/>
            <p:cNvSpPr>
              <a:spLocks/>
            </p:cNvSpPr>
            <p:nvPr userDrawn="1"/>
          </p:nvSpPr>
          <p:spPr bwMode="auto">
            <a:xfrm>
              <a:off x="4799013" y="3605213"/>
              <a:ext cx="230188" cy="314325"/>
            </a:xfrm>
            <a:custGeom>
              <a:avLst/>
              <a:gdLst>
                <a:gd name="T0" fmla="*/ 0 w 145"/>
                <a:gd name="T1" fmla="*/ 198 h 198"/>
                <a:gd name="T2" fmla="*/ 145 w 145"/>
                <a:gd name="T3" fmla="*/ 113 h 198"/>
                <a:gd name="T4" fmla="*/ 145 w 145"/>
                <a:gd name="T5" fmla="*/ 0 h 198"/>
                <a:gd name="T6" fmla="*/ 0 w 145"/>
                <a:gd name="T7" fmla="*/ 85 h 198"/>
                <a:gd name="T8" fmla="*/ 0 w 145"/>
                <a:gd name="T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98">
                  <a:moveTo>
                    <a:pt x="0" y="198"/>
                  </a:moveTo>
                  <a:lnTo>
                    <a:pt x="145" y="113"/>
                  </a:lnTo>
                  <a:lnTo>
                    <a:pt x="145" y="0"/>
                  </a:lnTo>
                  <a:lnTo>
                    <a:pt x="0" y="85"/>
                  </a:lnTo>
                  <a:lnTo>
                    <a:pt x="0" y="1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1" name="Freeform 27"/>
            <p:cNvSpPr>
              <a:spLocks/>
            </p:cNvSpPr>
            <p:nvPr userDrawn="1"/>
          </p:nvSpPr>
          <p:spPr bwMode="auto">
            <a:xfrm>
              <a:off x="4570413" y="3776663"/>
              <a:ext cx="228600" cy="142875"/>
            </a:xfrm>
            <a:custGeom>
              <a:avLst/>
              <a:gdLst>
                <a:gd name="T0" fmla="*/ 142 w 142"/>
                <a:gd name="T1" fmla="*/ 34 h 88"/>
                <a:gd name="T2" fmla="*/ 142 w 142"/>
                <a:gd name="T3" fmla="*/ 34 h 88"/>
                <a:gd name="T4" fmla="*/ 84 w 142"/>
                <a:gd name="T5" fmla="*/ 0 h 88"/>
                <a:gd name="T6" fmla="*/ 72 w 142"/>
                <a:gd name="T7" fmla="*/ 26 h 88"/>
                <a:gd name="T8" fmla="*/ 17 w 142"/>
                <a:gd name="T9" fmla="*/ 3 h 88"/>
                <a:gd name="T10" fmla="*/ 0 w 142"/>
                <a:gd name="T11" fmla="*/ 5 h 88"/>
                <a:gd name="T12" fmla="*/ 0 w 142"/>
                <a:gd name="T13" fmla="*/ 5 h 88"/>
                <a:gd name="T14" fmla="*/ 142 w 142"/>
                <a:gd name="T15" fmla="*/ 88 h 88"/>
                <a:gd name="T16" fmla="*/ 142 w 142"/>
                <a:gd name="T17" fmla="*/ 88 h 88"/>
                <a:gd name="T18" fmla="*/ 142 w 142"/>
                <a:gd name="T19" fmla="*/ 3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" h="88">
                  <a:moveTo>
                    <a:pt x="142" y="34"/>
                  </a:moveTo>
                  <a:cubicBezTo>
                    <a:pt x="142" y="34"/>
                    <a:pt x="142" y="34"/>
                    <a:pt x="142" y="34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79" y="8"/>
                    <a:pt x="75" y="17"/>
                    <a:pt x="72" y="26"/>
                  </a:cubicBezTo>
                  <a:cubicBezTo>
                    <a:pt x="58" y="12"/>
                    <a:pt x="39" y="3"/>
                    <a:pt x="17" y="3"/>
                  </a:cubicBezTo>
                  <a:cubicBezTo>
                    <a:pt x="11" y="3"/>
                    <a:pt x="5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2" y="88"/>
                    <a:pt x="142" y="88"/>
                    <a:pt x="142" y="88"/>
                  </a:cubicBezTo>
                  <a:cubicBezTo>
                    <a:pt x="142" y="88"/>
                    <a:pt x="142" y="88"/>
                    <a:pt x="142" y="88"/>
                  </a:cubicBezTo>
                  <a:lnTo>
                    <a:pt x="142" y="34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2" name="Freeform 28"/>
            <p:cNvSpPr>
              <a:spLocks/>
            </p:cNvSpPr>
            <p:nvPr userDrawn="1"/>
          </p:nvSpPr>
          <p:spPr bwMode="auto">
            <a:xfrm>
              <a:off x="4570413" y="3209926"/>
              <a:ext cx="458788" cy="530225"/>
            </a:xfrm>
            <a:custGeom>
              <a:avLst/>
              <a:gdLst>
                <a:gd name="T0" fmla="*/ 144 w 289"/>
                <a:gd name="T1" fmla="*/ 279 h 334"/>
                <a:gd name="T2" fmla="*/ 144 w 289"/>
                <a:gd name="T3" fmla="*/ 279 h 334"/>
                <a:gd name="T4" fmla="*/ 47 w 289"/>
                <a:gd name="T5" fmla="*/ 223 h 334"/>
                <a:gd name="T6" fmla="*/ 47 w 289"/>
                <a:gd name="T7" fmla="*/ 110 h 334"/>
                <a:gd name="T8" fmla="*/ 144 w 289"/>
                <a:gd name="T9" fmla="*/ 54 h 334"/>
                <a:gd name="T10" fmla="*/ 242 w 289"/>
                <a:gd name="T11" fmla="*/ 110 h 334"/>
                <a:gd name="T12" fmla="*/ 242 w 289"/>
                <a:gd name="T13" fmla="*/ 111 h 334"/>
                <a:gd name="T14" fmla="*/ 289 w 289"/>
                <a:gd name="T15" fmla="*/ 83 h 334"/>
                <a:gd name="T16" fmla="*/ 144 w 289"/>
                <a:gd name="T17" fmla="*/ 0 h 334"/>
                <a:gd name="T18" fmla="*/ 0 w 289"/>
                <a:gd name="T19" fmla="*/ 83 h 334"/>
                <a:gd name="T20" fmla="*/ 0 w 289"/>
                <a:gd name="T21" fmla="*/ 250 h 334"/>
                <a:gd name="T22" fmla="*/ 144 w 289"/>
                <a:gd name="T23" fmla="*/ 334 h 334"/>
                <a:gd name="T24" fmla="*/ 144 w 289"/>
                <a:gd name="T25" fmla="*/ 334 h 334"/>
                <a:gd name="T26" fmla="*/ 144 w 289"/>
                <a:gd name="T27" fmla="*/ 279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9" h="334">
                  <a:moveTo>
                    <a:pt x="144" y="279"/>
                  </a:moveTo>
                  <a:lnTo>
                    <a:pt x="144" y="279"/>
                  </a:lnTo>
                  <a:lnTo>
                    <a:pt x="47" y="223"/>
                  </a:lnTo>
                  <a:lnTo>
                    <a:pt x="47" y="110"/>
                  </a:lnTo>
                  <a:lnTo>
                    <a:pt x="144" y="54"/>
                  </a:lnTo>
                  <a:lnTo>
                    <a:pt x="242" y="110"/>
                  </a:lnTo>
                  <a:lnTo>
                    <a:pt x="242" y="111"/>
                  </a:lnTo>
                  <a:lnTo>
                    <a:pt x="289" y="83"/>
                  </a:lnTo>
                  <a:lnTo>
                    <a:pt x="144" y="0"/>
                  </a:lnTo>
                  <a:lnTo>
                    <a:pt x="0" y="83"/>
                  </a:lnTo>
                  <a:lnTo>
                    <a:pt x="0" y="250"/>
                  </a:lnTo>
                  <a:lnTo>
                    <a:pt x="144" y="334"/>
                  </a:lnTo>
                  <a:lnTo>
                    <a:pt x="144" y="334"/>
                  </a:lnTo>
                  <a:lnTo>
                    <a:pt x="144" y="2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10" name="Freeform 6"/>
          <p:cNvSpPr>
            <a:spLocks/>
          </p:cNvSpPr>
          <p:nvPr userDrawn="1"/>
        </p:nvSpPr>
        <p:spPr bwMode="auto">
          <a:xfrm>
            <a:off x="9233487" y="2228929"/>
            <a:ext cx="2009175" cy="807831"/>
          </a:xfrm>
          <a:custGeom>
            <a:avLst/>
            <a:gdLst>
              <a:gd name="T0" fmla="*/ 1131 w 1266"/>
              <a:gd name="T1" fmla="*/ 241 h 510"/>
              <a:gd name="T2" fmla="*/ 1108 w 1266"/>
              <a:gd name="T3" fmla="*/ 241 h 510"/>
              <a:gd name="T4" fmla="*/ 853 w 1266"/>
              <a:gd name="T5" fmla="*/ 0 h 510"/>
              <a:gd name="T6" fmla="*/ 605 w 1266"/>
              <a:gd name="T7" fmla="*/ 188 h 510"/>
              <a:gd name="T8" fmla="*/ 469 w 1266"/>
              <a:gd name="T9" fmla="*/ 131 h 510"/>
              <a:gd name="T10" fmla="*/ 280 w 1266"/>
              <a:gd name="T11" fmla="*/ 303 h 510"/>
              <a:gd name="T12" fmla="*/ 192 w 1266"/>
              <a:gd name="T13" fmla="*/ 344 h 510"/>
              <a:gd name="T14" fmla="*/ 107 w 1266"/>
              <a:gd name="T15" fmla="*/ 300 h 510"/>
              <a:gd name="T16" fmla="*/ 0 w 1266"/>
              <a:gd name="T17" fmla="*/ 404 h 510"/>
              <a:gd name="T18" fmla="*/ 107 w 1266"/>
              <a:gd name="T19" fmla="*/ 510 h 510"/>
              <a:gd name="T20" fmla="*/ 135 w 1266"/>
              <a:gd name="T21" fmla="*/ 510 h 510"/>
              <a:gd name="T22" fmla="*/ 482 w 1266"/>
              <a:gd name="T23" fmla="*/ 510 h 510"/>
              <a:gd name="T24" fmla="*/ 674 w 1266"/>
              <a:gd name="T25" fmla="*/ 510 h 510"/>
              <a:gd name="T26" fmla="*/ 1140 w 1266"/>
              <a:gd name="T27" fmla="*/ 510 h 510"/>
              <a:gd name="T28" fmla="*/ 1140 w 1266"/>
              <a:gd name="T29" fmla="*/ 510 h 510"/>
              <a:gd name="T30" fmla="*/ 1266 w 1266"/>
              <a:gd name="T31" fmla="*/ 375 h 510"/>
              <a:gd name="T32" fmla="*/ 1131 w 1266"/>
              <a:gd name="T33" fmla="*/ 241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266" h="510">
                <a:moveTo>
                  <a:pt x="1131" y="241"/>
                </a:moveTo>
                <a:cubicBezTo>
                  <a:pt x="1124" y="241"/>
                  <a:pt x="1118" y="241"/>
                  <a:pt x="1108" y="241"/>
                </a:cubicBezTo>
                <a:cubicBezTo>
                  <a:pt x="1102" y="106"/>
                  <a:pt x="992" y="0"/>
                  <a:pt x="853" y="0"/>
                </a:cubicBezTo>
                <a:cubicBezTo>
                  <a:pt x="734" y="0"/>
                  <a:pt x="636" y="81"/>
                  <a:pt x="605" y="188"/>
                </a:cubicBezTo>
                <a:cubicBezTo>
                  <a:pt x="570" y="153"/>
                  <a:pt x="523" y="131"/>
                  <a:pt x="469" y="131"/>
                </a:cubicBezTo>
                <a:cubicBezTo>
                  <a:pt x="372" y="131"/>
                  <a:pt x="290" y="206"/>
                  <a:pt x="280" y="303"/>
                </a:cubicBezTo>
                <a:cubicBezTo>
                  <a:pt x="249" y="307"/>
                  <a:pt x="217" y="322"/>
                  <a:pt x="192" y="344"/>
                </a:cubicBezTo>
                <a:cubicBezTo>
                  <a:pt x="173" y="316"/>
                  <a:pt x="142" y="300"/>
                  <a:pt x="107" y="300"/>
                </a:cubicBezTo>
                <a:cubicBezTo>
                  <a:pt x="47" y="300"/>
                  <a:pt x="0" y="347"/>
                  <a:pt x="0" y="404"/>
                </a:cubicBezTo>
                <a:cubicBezTo>
                  <a:pt x="0" y="463"/>
                  <a:pt x="47" y="510"/>
                  <a:pt x="107" y="510"/>
                </a:cubicBezTo>
                <a:cubicBezTo>
                  <a:pt x="135" y="510"/>
                  <a:pt x="135" y="510"/>
                  <a:pt x="135" y="510"/>
                </a:cubicBezTo>
                <a:cubicBezTo>
                  <a:pt x="482" y="510"/>
                  <a:pt x="482" y="510"/>
                  <a:pt x="482" y="510"/>
                </a:cubicBezTo>
                <a:cubicBezTo>
                  <a:pt x="674" y="510"/>
                  <a:pt x="674" y="510"/>
                  <a:pt x="674" y="510"/>
                </a:cubicBezTo>
                <a:cubicBezTo>
                  <a:pt x="1140" y="510"/>
                  <a:pt x="1140" y="510"/>
                  <a:pt x="1140" y="510"/>
                </a:cubicBezTo>
                <a:cubicBezTo>
                  <a:pt x="1140" y="510"/>
                  <a:pt x="1140" y="510"/>
                  <a:pt x="1140" y="510"/>
                </a:cubicBezTo>
                <a:cubicBezTo>
                  <a:pt x="1209" y="504"/>
                  <a:pt x="1266" y="447"/>
                  <a:pt x="1266" y="375"/>
                </a:cubicBezTo>
                <a:cubicBezTo>
                  <a:pt x="1266" y="300"/>
                  <a:pt x="1206" y="241"/>
                  <a:pt x="1131" y="24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white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white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8" name="Freeform 12"/>
            <p:cNvSpPr>
              <a:spLocks noEditPoints="1"/>
            </p:cNvSpPr>
            <p:nvPr/>
          </p:nvSpPr>
          <p:spPr bwMode="white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77" name="Group 76"/>
          <p:cNvGrpSpPr/>
          <p:nvPr userDrawn="1"/>
        </p:nvGrpSpPr>
        <p:grpSpPr>
          <a:xfrm>
            <a:off x="1004585" y="2308309"/>
            <a:ext cx="3321130" cy="437381"/>
            <a:chOff x="1092200" y="1960563"/>
            <a:chExt cx="3387726" cy="446088"/>
          </a:xfrm>
        </p:grpSpPr>
        <p:sp>
          <p:nvSpPr>
            <p:cNvPr id="37" name="Freeform 33"/>
            <p:cNvSpPr>
              <a:spLocks/>
            </p:cNvSpPr>
            <p:nvPr userDrawn="1"/>
          </p:nvSpPr>
          <p:spPr bwMode="auto">
            <a:xfrm>
              <a:off x="1092200" y="1981201"/>
              <a:ext cx="344488" cy="317500"/>
            </a:xfrm>
            <a:custGeom>
              <a:avLst/>
              <a:gdLst>
                <a:gd name="T0" fmla="*/ 181 w 213"/>
                <a:gd name="T1" fmla="*/ 197 h 197"/>
                <a:gd name="T2" fmla="*/ 181 w 213"/>
                <a:gd name="T3" fmla="*/ 72 h 197"/>
                <a:gd name="T4" fmla="*/ 182 w 213"/>
                <a:gd name="T5" fmla="*/ 29 h 197"/>
                <a:gd name="T6" fmla="*/ 182 w 213"/>
                <a:gd name="T7" fmla="*/ 29 h 197"/>
                <a:gd name="T8" fmla="*/ 176 w 213"/>
                <a:gd name="T9" fmla="*/ 51 h 197"/>
                <a:gd name="T10" fmla="*/ 117 w 213"/>
                <a:gd name="T11" fmla="*/ 197 h 197"/>
                <a:gd name="T12" fmla="*/ 95 w 213"/>
                <a:gd name="T13" fmla="*/ 197 h 197"/>
                <a:gd name="T14" fmla="*/ 35 w 213"/>
                <a:gd name="T15" fmla="*/ 53 h 197"/>
                <a:gd name="T16" fmla="*/ 30 w 213"/>
                <a:gd name="T17" fmla="*/ 29 h 197"/>
                <a:gd name="T18" fmla="*/ 29 w 213"/>
                <a:gd name="T19" fmla="*/ 29 h 197"/>
                <a:gd name="T20" fmla="*/ 30 w 213"/>
                <a:gd name="T21" fmla="*/ 49 h 197"/>
                <a:gd name="T22" fmla="*/ 30 w 213"/>
                <a:gd name="T23" fmla="*/ 76 h 197"/>
                <a:gd name="T24" fmla="*/ 30 w 213"/>
                <a:gd name="T25" fmla="*/ 197 h 197"/>
                <a:gd name="T26" fmla="*/ 0 w 213"/>
                <a:gd name="T27" fmla="*/ 197 h 197"/>
                <a:gd name="T28" fmla="*/ 0 w 213"/>
                <a:gd name="T29" fmla="*/ 0 h 197"/>
                <a:gd name="T30" fmla="*/ 47 w 213"/>
                <a:gd name="T31" fmla="*/ 0 h 197"/>
                <a:gd name="T32" fmla="*/ 97 w 213"/>
                <a:gd name="T33" fmla="*/ 124 h 197"/>
                <a:gd name="T34" fmla="*/ 106 w 213"/>
                <a:gd name="T35" fmla="*/ 152 h 197"/>
                <a:gd name="T36" fmla="*/ 106 w 213"/>
                <a:gd name="T37" fmla="*/ 152 h 197"/>
                <a:gd name="T38" fmla="*/ 117 w 213"/>
                <a:gd name="T39" fmla="*/ 124 h 197"/>
                <a:gd name="T40" fmla="*/ 168 w 213"/>
                <a:gd name="T41" fmla="*/ 0 h 197"/>
                <a:gd name="T42" fmla="*/ 213 w 213"/>
                <a:gd name="T43" fmla="*/ 0 h 197"/>
                <a:gd name="T44" fmla="*/ 213 w 213"/>
                <a:gd name="T45" fmla="*/ 197 h 197"/>
                <a:gd name="T46" fmla="*/ 181 w 213"/>
                <a:gd name="T4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3" h="197">
                  <a:moveTo>
                    <a:pt x="181" y="197"/>
                  </a:moveTo>
                  <a:cubicBezTo>
                    <a:pt x="181" y="72"/>
                    <a:pt x="181" y="72"/>
                    <a:pt x="181" y="72"/>
                  </a:cubicBezTo>
                  <a:cubicBezTo>
                    <a:pt x="181" y="62"/>
                    <a:pt x="181" y="48"/>
                    <a:pt x="182" y="29"/>
                  </a:cubicBezTo>
                  <a:cubicBezTo>
                    <a:pt x="182" y="29"/>
                    <a:pt x="182" y="29"/>
                    <a:pt x="182" y="29"/>
                  </a:cubicBezTo>
                  <a:cubicBezTo>
                    <a:pt x="180" y="39"/>
                    <a:pt x="178" y="47"/>
                    <a:pt x="176" y="51"/>
                  </a:cubicBezTo>
                  <a:cubicBezTo>
                    <a:pt x="117" y="197"/>
                    <a:pt x="117" y="197"/>
                    <a:pt x="117" y="197"/>
                  </a:cubicBezTo>
                  <a:cubicBezTo>
                    <a:pt x="95" y="197"/>
                    <a:pt x="95" y="197"/>
                    <a:pt x="95" y="197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4" y="48"/>
                    <a:pt x="32" y="40"/>
                    <a:pt x="30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32"/>
                    <a:pt x="29" y="38"/>
                    <a:pt x="30" y="49"/>
                  </a:cubicBezTo>
                  <a:cubicBezTo>
                    <a:pt x="30" y="59"/>
                    <a:pt x="30" y="68"/>
                    <a:pt x="30" y="76"/>
                  </a:cubicBezTo>
                  <a:cubicBezTo>
                    <a:pt x="30" y="197"/>
                    <a:pt x="30" y="197"/>
                    <a:pt x="30" y="197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97" y="124"/>
                    <a:pt x="97" y="124"/>
                    <a:pt x="97" y="124"/>
                  </a:cubicBezTo>
                  <a:cubicBezTo>
                    <a:pt x="101" y="136"/>
                    <a:pt x="104" y="146"/>
                    <a:pt x="106" y="152"/>
                  </a:cubicBezTo>
                  <a:cubicBezTo>
                    <a:pt x="106" y="152"/>
                    <a:pt x="106" y="152"/>
                    <a:pt x="106" y="152"/>
                  </a:cubicBezTo>
                  <a:cubicBezTo>
                    <a:pt x="117" y="124"/>
                    <a:pt x="117" y="124"/>
                    <a:pt x="117" y="124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213" y="197"/>
                    <a:pt x="213" y="197"/>
                    <a:pt x="213" y="197"/>
                  </a:cubicBezTo>
                  <a:lnTo>
                    <a:pt x="181" y="1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8" name="Freeform 34"/>
            <p:cNvSpPr>
              <a:spLocks noEditPoints="1"/>
            </p:cNvSpPr>
            <p:nvPr userDrawn="1"/>
          </p:nvSpPr>
          <p:spPr bwMode="auto">
            <a:xfrm>
              <a:off x="1495425" y="2066926"/>
              <a:ext cx="233363" cy="236538"/>
            </a:xfrm>
            <a:custGeom>
              <a:avLst/>
              <a:gdLst>
                <a:gd name="T0" fmla="*/ 145 w 145"/>
                <a:gd name="T1" fmla="*/ 72 h 147"/>
                <a:gd name="T2" fmla="*/ 125 w 145"/>
                <a:gd name="T3" fmla="*/ 127 h 147"/>
                <a:gd name="T4" fmla="*/ 71 w 145"/>
                <a:gd name="T5" fmla="*/ 147 h 147"/>
                <a:gd name="T6" fmla="*/ 19 w 145"/>
                <a:gd name="T7" fmla="*/ 128 h 147"/>
                <a:gd name="T8" fmla="*/ 0 w 145"/>
                <a:gd name="T9" fmla="*/ 75 h 147"/>
                <a:gd name="T10" fmla="*/ 20 w 145"/>
                <a:gd name="T11" fmla="*/ 20 h 147"/>
                <a:gd name="T12" fmla="*/ 75 w 145"/>
                <a:gd name="T13" fmla="*/ 0 h 147"/>
                <a:gd name="T14" fmla="*/ 126 w 145"/>
                <a:gd name="T15" fmla="*/ 19 h 147"/>
                <a:gd name="T16" fmla="*/ 145 w 145"/>
                <a:gd name="T17" fmla="*/ 72 h 147"/>
                <a:gd name="T18" fmla="*/ 112 w 145"/>
                <a:gd name="T19" fmla="*/ 73 h 147"/>
                <a:gd name="T20" fmla="*/ 101 w 145"/>
                <a:gd name="T21" fmla="*/ 38 h 147"/>
                <a:gd name="T22" fmla="*/ 73 w 145"/>
                <a:gd name="T23" fmla="*/ 26 h 147"/>
                <a:gd name="T24" fmla="*/ 44 w 145"/>
                <a:gd name="T25" fmla="*/ 39 h 147"/>
                <a:gd name="T26" fmla="*/ 33 w 145"/>
                <a:gd name="T27" fmla="*/ 74 h 147"/>
                <a:gd name="T28" fmla="*/ 44 w 145"/>
                <a:gd name="T29" fmla="*/ 109 h 147"/>
                <a:gd name="T30" fmla="*/ 73 w 145"/>
                <a:gd name="T31" fmla="*/ 121 h 147"/>
                <a:gd name="T32" fmla="*/ 102 w 145"/>
                <a:gd name="T33" fmla="*/ 109 h 147"/>
                <a:gd name="T34" fmla="*/ 112 w 145"/>
                <a:gd name="T35" fmla="*/ 73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5" h="147">
                  <a:moveTo>
                    <a:pt x="145" y="72"/>
                  </a:moveTo>
                  <a:cubicBezTo>
                    <a:pt x="145" y="95"/>
                    <a:pt x="138" y="113"/>
                    <a:pt x="125" y="127"/>
                  </a:cubicBezTo>
                  <a:cubicBezTo>
                    <a:pt x="112" y="141"/>
                    <a:pt x="94" y="147"/>
                    <a:pt x="71" y="147"/>
                  </a:cubicBezTo>
                  <a:cubicBezTo>
                    <a:pt x="50" y="147"/>
                    <a:pt x="32" y="141"/>
                    <a:pt x="19" y="128"/>
                  </a:cubicBezTo>
                  <a:cubicBezTo>
                    <a:pt x="7" y="115"/>
                    <a:pt x="0" y="97"/>
                    <a:pt x="0" y="75"/>
                  </a:cubicBezTo>
                  <a:cubicBezTo>
                    <a:pt x="0" y="52"/>
                    <a:pt x="7" y="34"/>
                    <a:pt x="20" y="20"/>
                  </a:cubicBezTo>
                  <a:cubicBezTo>
                    <a:pt x="33" y="7"/>
                    <a:pt x="51" y="0"/>
                    <a:pt x="75" y="0"/>
                  </a:cubicBezTo>
                  <a:cubicBezTo>
                    <a:pt x="97" y="0"/>
                    <a:pt x="114" y="6"/>
                    <a:pt x="126" y="19"/>
                  </a:cubicBezTo>
                  <a:cubicBezTo>
                    <a:pt x="139" y="32"/>
                    <a:pt x="145" y="50"/>
                    <a:pt x="145" y="72"/>
                  </a:cubicBezTo>
                  <a:close/>
                  <a:moveTo>
                    <a:pt x="112" y="73"/>
                  </a:moveTo>
                  <a:cubicBezTo>
                    <a:pt x="112" y="58"/>
                    <a:pt x="108" y="46"/>
                    <a:pt x="101" y="38"/>
                  </a:cubicBezTo>
                  <a:cubicBezTo>
                    <a:pt x="94" y="30"/>
                    <a:pt x="85" y="26"/>
                    <a:pt x="73" y="26"/>
                  </a:cubicBezTo>
                  <a:cubicBezTo>
                    <a:pt x="60" y="26"/>
                    <a:pt x="51" y="30"/>
                    <a:pt x="44" y="39"/>
                  </a:cubicBezTo>
                  <a:cubicBezTo>
                    <a:pt x="37" y="47"/>
                    <a:pt x="33" y="59"/>
                    <a:pt x="33" y="74"/>
                  </a:cubicBezTo>
                  <a:cubicBezTo>
                    <a:pt x="33" y="89"/>
                    <a:pt x="37" y="101"/>
                    <a:pt x="44" y="109"/>
                  </a:cubicBezTo>
                  <a:cubicBezTo>
                    <a:pt x="51" y="117"/>
                    <a:pt x="61" y="121"/>
                    <a:pt x="73" y="121"/>
                  </a:cubicBezTo>
                  <a:cubicBezTo>
                    <a:pt x="86" y="121"/>
                    <a:pt x="95" y="117"/>
                    <a:pt x="102" y="109"/>
                  </a:cubicBezTo>
                  <a:cubicBezTo>
                    <a:pt x="108" y="101"/>
                    <a:pt x="112" y="89"/>
                    <a:pt x="112" y="7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9" name="Freeform 35"/>
            <p:cNvSpPr>
              <a:spLocks noEditPoints="1"/>
            </p:cNvSpPr>
            <p:nvPr userDrawn="1"/>
          </p:nvSpPr>
          <p:spPr bwMode="auto">
            <a:xfrm>
              <a:off x="1765300" y="1962151"/>
              <a:ext cx="222250" cy="341313"/>
            </a:xfrm>
            <a:custGeom>
              <a:avLst/>
              <a:gdLst>
                <a:gd name="T0" fmla="*/ 105 w 137"/>
                <a:gd name="T1" fmla="*/ 208 h 211"/>
                <a:gd name="T2" fmla="*/ 105 w 137"/>
                <a:gd name="T3" fmla="*/ 186 h 211"/>
                <a:gd name="T4" fmla="*/ 105 w 137"/>
                <a:gd name="T5" fmla="*/ 186 h 211"/>
                <a:gd name="T6" fmla="*/ 58 w 137"/>
                <a:gd name="T7" fmla="*/ 211 h 211"/>
                <a:gd name="T8" fmla="*/ 16 w 137"/>
                <a:gd name="T9" fmla="*/ 192 h 211"/>
                <a:gd name="T10" fmla="*/ 0 w 137"/>
                <a:gd name="T11" fmla="*/ 141 h 211"/>
                <a:gd name="T12" fmla="*/ 18 w 137"/>
                <a:gd name="T13" fmla="*/ 85 h 211"/>
                <a:gd name="T14" fmla="*/ 65 w 137"/>
                <a:gd name="T15" fmla="*/ 64 h 211"/>
                <a:gd name="T16" fmla="*/ 88 w 137"/>
                <a:gd name="T17" fmla="*/ 69 h 211"/>
                <a:gd name="T18" fmla="*/ 105 w 137"/>
                <a:gd name="T19" fmla="*/ 85 h 211"/>
                <a:gd name="T20" fmla="*/ 105 w 137"/>
                <a:gd name="T21" fmla="*/ 85 h 211"/>
                <a:gd name="T22" fmla="*/ 105 w 137"/>
                <a:gd name="T23" fmla="*/ 0 h 211"/>
                <a:gd name="T24" fmla="*/ 137 w 137"/>
                <a:gd name="T25" fmla="*/ 0 h 211"/>
                <a:gd name="T26" fmla="*/ 137 w 137"/>
                <a:gd name="T27" fmla="*/ 208 h 211"/>
                <a:gd name="T28" fmla="*/ 105 w 137"/>
                <a:gd name="T29" fmla="*/ 208 h 211"/>
                <a:gd name="T30" fmla="*/ 105 w 137"/>
                <a:gd name="T31" fmla="*/ 126 h 211"/>
                <a:gd name="T32" fmla="*/ 95 w 137"/>
                <a:gd name="T33" fmla="*/ 100 h 211"/>
                <a:gd name="T34" fmla="*/ 71 w 137"/>
                <a:gd name="T35" fmla="*/ 90 h 211"/>
                <a:gd name="T36" fmla="*/ 43 w 137"/>
                <a:gd name="T37" fmla="*/ 103 h 211"/>
                <a:gd name="T38" fmla="*/ 33 w 137"/>
                <a:gd name="T39" fmla="*/ 140 h 211"/>
                <a:gd name="T40" fmla="*/ 43 w 137"/>
                <a:gd name="T41" fmla="*/ 173 h 211"/>
                <a:gd name="T42" fmla="*/ 69 w 137"/>
                <a:gd name="T43" fmla="*/ 185 h 211"/>
                <a:gd name="T44" fmla="*/ 95 w 137"/>
                <a:gd name="T45" fmla="*/ 173 h 211"/>
                <a:gd name="T46" fmla="*/ 105 w 137"/>
                <a:gd name="T47" fmla="*/ 142 h 211"/>
                <a:gd name="T48" fmla="*/ 105 w 137"/>
                <a:gd name="T49" fmla="*/ 126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7" h="211">
                  <a:moveTo>
                    <a:pt x="105" y="208"/>
                  </a:moveTo>
                  <a:cubicBezTo>
                    <a:pt x="105" y="186"/>
                    <a:pt x="105" y="186"/>
                    <a:pt x="105" y="186"/>
                  </a:cubicBezTo>
                  <a:cubicBezTo>
                    <a:pt x="105" y="186"/>
                    <a:pt x="105" y="186"/>
                    <a:pt x="105" y="186"/>
                  </a:cubicBezTo>
                  <a:cubicBezTo>
                    <a:pt x="95" y="203"/>
                    <a:pt x="79" y="211"/>
                    <a:pt x="58" y="211"/>
                  </a:cubicBezTo>
                  <a:cubicBezTo>
                    <a:pt x="41" y="211"/>
                    <a:pt x="27" y="205"/>
                    <a:pt x="16" y="192"/>
                  </a:cubicBezTo>
                  <a:cubicBezTo>
                    <a:pt x="5" y="180"/>
                    <a:pt x="0" y="163"/>
                    <a:pt x="0" y="141"/>
                  </a:cubicBezTo>
                  <a:cubicBezTo>
                    <a:pt x="0" y="118"/>
                    <a:pt x="6" y="99"/>
                    <a:pt x="18" y="85"/>
                  </a:cubicBezTo>
                  <a:cubicBezTo>
                    <a:pt x="29" y="71"/>
                    <a:pt x="45" y="64"/>
                    <a:pt x="65" y="64"/>
                  </a:cubicBezTo>
                  <a:cubicBezTo>
                    <a:pt x="74" y="64"/>
                    <a:pt x="81" y="66"/>
                    <a:pt x="88" y="69"/>
                  </a:cubicBezTo>
                  <a:cubicBezTo>
                    <a:pt x="95" y="73"/>
                    <a:pt x="101" y="78"/>
                    <a:pt x="105" y="85"/>
                  </a:cubicBezTo>
                  <a:cubicBezTo>
                    <a:pt x="105" y="85"/>
                    <a:pt x="105" y="85"/>
                    <a:pt x="105" y="85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7" y="208"/>
                    <a:pt x="137" y="208"/>
                    <a:pt x="137" y="208"/>
                  </a:cubicBezTo>
                  <a:lnTo>
                    <a:pt x="105" y="208"/>
                  </a:lnTo>
                  <a:close/>
                  <a:moveTo>
                    <a:pt x="105" y="126"/>
                  </a:moveTo>
                  <a:cubicBezTo>
                    <a:pt x="105" y="116"/>
                    <a:pt x="102" y="107"/>
                    <a:pt x="95" y="100"/>
                  </a:cubicBezTo>
                  <a:cubicBezTo>
                    <a:pt x="89" y="93"/>
                    <a:pt x="81" y="90"/>
                    <a:pt x="71" y="90"/>
                  </a:cubicBezTo>
                  <a:cubicBezTo>
                    <a:pt x="59" y="90"/>
                    <a:pt x="50" y="94"/>
                    <a:pt x="43" y="103"/>
                  </a:cubicBezTo>
                  <a:cubicBezTo>
                    <a:pt x="36" y="112"/>
                    <a:pt x="33" y="124"/>
                    <a:pt x="33" y="140"/>
                  </a:cubicBezTo>
                  <a:cubicBezTo>
                    <a:pt x="33" y="154"/>
                    <a:pt x="36" y="165"/>
                    <a:pt x="43" y="173"/>
                  </a:cubicBezTo>
                  <a:cubicBezTo>
                    <a:pt x="49" y="181"/>
                    <a:pt x="58" y="185"/>
                    <a:pt x="69" y="185"/>
                  </a:cubicBezTo>
                  <a:cubicBezTo>
                    <a:pt x="79" y="185"/>
                    <a:pt x="88" y="181"/>
                    <a:pt x="95" y="173"/>
                  </a:cubicBezTo>
                  <a:cubicBezTo>
                    <a:pt x="102" y="165"/>
                    <a:pt x="105" y="155"/>
                    <a:pt x="105" y="142"/>
                  </a:cubicBezTo>
                  <a:lnTo>
                    <a:pt x="105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0" name="Freeform 36"/>
            <p:cNvSpPr>
              <a:spLocks noEditPoints="1"/>
            </p:cNvSpPr>
            <p:nvPr userDrawn="1"/>
          </p:nvSpPr>
          <p:spPr bwMode="auto">
            <a:xfrm>
              <a:off x="2039938" y="2066926"/>
              <a:ext cx="207963" cy="236538"/>
            </a:xfrm>
            <a:custGeom>
              <a:avLst/>
              <a:gdLst>
                <a:gd name="T0" fmla="*/ 32 w 128"/>
                <a:gd name="T1" fmla="*/ 83 h 147"/>
                <a:gd name="T2" fmla="*/ 44 w 128"/>
                <a:gd name="T3" fmla="*/ 112 h 147"/>
                <a:gd name="T4" fmla="*/ 75 w 128"/>
                <a:gd name="T5" fmla="*/ 122 h 147"/>
                <a:gd name="T6" fmla="*/ 98 w 128"/>
                <a:gd name="T7" fmla="*/ 118 h 147"/>
                <a:gd name="T8" fmla="*/ 117 w 128"/>
                <a:gd name="T9" fmla="*/ 109 h 147"/>
                <a:gd name="T10" fmla="*/ 117 w 128"/>
                <a:gd name="T11" fmla="*/ 136 h 147"/>
                <a:gd name="T12" fmla="*/ 95 w 128"/>
                <a:gd name="T13" fmla="*/ 144 h 147"/>
                <a:gd name="T14" fmla="*/ 67 w 128"/>
                <a:gd name="T15" fmla="*/ 147 h 147"/>
                <a:gd name="T16" fmla="*/ 17 w 128"/>
                <a:gd name="T17" fmla="*/ 128 h 147"/>
                <a:gd name="T18" fmla="*/ 0 w 128"/>
                <a:gd name="T19" fmla="*/ 75 h 147"/>
                <a:gd name="T20" fmla="*/ 9 w 128"/>
                <a:gd name="T21" fmla="*/ 36 h 147"/>
                <a:gd name="T22" fmla="*/ 33 w 128"/>
                <a:gd name="T23" fmla="*/ 9 h 147"/>
                <a:gd name="T24" fmla="*/ 67 w 128"/>
                <a:gd name="T25" fmla="*/ 0 h 147"/>
                <a:gd name="T26" fmla="*/ 112 w 128"/>
                <a:gd name="T27" fmla="*/ 18 h 147"/>
                <a:gd name="T28" fmla="*/ 128 w 128"/>
                <a:gd name="T29" fmla="*/ 67 h 147"/>
                <a:gd name="T30" fmla="*/ 128 w 128"/>
                <a:gd name="T31" fmla="*/ 83 h 147"/>
                <a:gd name="T32" fmla="*/ 32 w 128"/>
                <a:gd name="T33" fmla="*/ 83 h 147"/>
                <a:gd name="T34" fmla="*/ 97 w 128"/>
                <a:gd name="T35" fmla="*/ 59 h 147"/>
                <a:gd name="T36" fmla="*/ 89 w 128"/>
                <a:gd name="T37" fmla="*/ 34 h 147"/>
                <a:gd name="T38" fmla="*/ 67 w 128"/>
                <a:gd name="T39" fmla="*/ 25 h 147"/>
                <a:gd name="T40" fmla="*/ 44 w 128"/>
                <a:gd name="T41" fmla="*/ 34 h 147"/>
                <a:gd name="T42" fmla="*/ 32 w 128"/>
                <a:gd name="T43" fmla="*/ 59 h 147"/>
                <a:gd name="T44" fmla="*/ 97 w 128"/>
                <a:gd name="T45" fmla="*/ 59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8" h="147">
                  <a:moveTo>
                    <a:pt x="32" y="83"/>
                  </a:moveTo>
                  <a:cubicBezTo>
                    <a:pt x="33" y="96"/>
                    <a:pt x="37" y="106"/>
                    <a:pt x="44" y="112"/>
                  </a:cubicBezTo>
                  <a:cubicBezTo>
                    <a:pt x="51" y="119"/>
                    <a:pt x="61" y="122"/>
                    <a:pt x="75" y="122"/>
                  </a:cubicBezTo>
                  <a:cubicBezTo>
                    <a:pt x="83" y="122"/>
                    <a:pt x="90" y="121"/>
                    <a:pt x="98" y="118"/>
                  </a:cubicBezTo>
                  <a:cubicBezTo>
                    <a:pt x="105" y="116"/>
                    <a:pt x="111" y="113"/>
                    <a:pt x="117" y="109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2" y="139"/>
                    <a:pt x="104" y="142"/>
                    <a:pt x="95" y="144"/>
                  </a:cubicBezTo>
                  <a:cubicBezTo>
                    <a:pt x="86" y="146"/>
                    <a:pt x="77" y="147"/>
                    <a:pt x="67" y="147"/>
                  </a:cubicBezTo>
                  <a:cubicBezTo>
                    <a:pt x="46" y="147"/>
                    <a:pt x="29" y="141"/>
                    <a:pt x="17" y="128"/>
                  </a:cubicBezTo>
                  <a:cubicBezTo>
                    <a:pt x="6" y="115"/>
                    <a:pt x="0" y="98"/>
                    <a:pt x="0" y="75"/>
                  </a:cubicBezTo>
                  <a:cubicBezTo>
                    <a:pt x="0" y="60"/>
                    <a:pt x="3" y="47"/>
                    <a:pt x="9" y="36"/>
                  </a:cubicBezTo>
                  <a:cubicBezTo>
                    <a:pt x="14" y="24"/>
                    <a:pt x="22" y="16"/>
                    <a:pt x="33" y="9"/>
                  </a:cubicBezTo>
                  <a:cubicBezTo>
                    <a:pt x="43" y="3"/>
                    <a:pt x="54" y="0"/>
                    <a:pt x="67" y="0"/>
                  </a:cubicBezTo>
                  <a:cubicBezTo>
                    <a:pt x="86" y="0"/>
                    <a:pt x="101" y="6"/>
                    <a:pt x="112" y="18"/>
                  </a:cubicBezTo>
                  <a:cubicBezTo>
                    <a:pt x="123" y="30"/>
                    <a:pt x="128" y="46"/>
                    <a:pt x="128" y="67"/>
                  </a:cubicBezTo>
                  <a:cubicBezTo>
                    <a:pt x="128" y="83"/>
                    <a:pt x="128" y="83"/>
                    <a:pt x="128" y="83"/>
                  </a:cubicBezTo>
                  <a:lnTo>
                    <a:pt x="32" y="83"/>
                  </a:lnTo>
                  <a:close/>
                  <a:moveTo>
                    <a:pt x="97" y="59"/>
                  </a:moveTo>
                  <a:cubicBezTo>
                    <a:pt x="97" y="48"/>
                    <a:pt x="94" y="39"/>
                    <a:pt x="89" y="34"/>
                  </a:cubicBezTo>
                  <a:cubicBezTo>
                    <a:pt x="83" y="28"/>
                    <a:pt x="76" y="25"/>
                    <a:pt x="67" y="25"/>
                  </a:cubicBezTo>
                  <a:cubicBezTo>
                    <a:pt x="58" y="25"/>
                    <a:pt x="51" y="28"/>
                    <a:pt x="44" y="34"/>
                  </a:cubicBezTo>
                  <a:cubicBezTo>
                    <a:pt x="38" y="41"/>
                    <a:pt x="34" y="49"/>
                    <a:pt x="32" y="59"/>
                  </a:cubicBezTo>
                  <a:lnTo>
                    <a:pt x="97" y="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1" name="Freeform 37"/>
            <p:cNvSpPr>
              <a:spLocks/>
            </p:cNvSpPr>
            <p:nvPr userDrawn="1"/>
          </p:nvSpPr>
          <p:spPr bwMode="auto">
            <a:xfrm>
              <a:off x="2295525" y="2068513"/>
              <a:ext cx="131763" cy="230188"/>
            </a:xfrm>
            <a:custGeom>
              <a:avLst/>
              <a:gdLst>
                <a:gd name="T0" fmla="*/ 81 w 81"/>
                <a:gd name="T1" fmla="*/ 33 h 143"/>
                <a:gd name="T2" fmla="*/ 73 w 81"/>
                <a:gd name="T3" fmla="*/ 30 h 143"/>
                <a:gd name="T4" fmla="*/ 63 w 81"/>
                <a:gd name="T5" fmla="*/ 28 h 143"/>
                <a:gd name="T6" fmla="*/ 41 w 81"/>
                <a:gd name="T7" fmla="*/ 40 h 143"/>
                <a:gd name="T8" fmla="*/ 32 w 81"/>
                <a:gd name="T9" fmla="*/ 71 h 143"/>
                <a:gd name="T10" fmla="*/ 32 w 81"/>
                <a:gd name="T11" fmla="*/ 143 h 143"/>
                <a:gd name="T12" fmla="*/ 0 w 81"/>
                <a:gd name="T13" fmla="*/ 143 h 143"/>
                <a:gd name="T14" fmla="*/ 0 w 81"/>
                <a:gd name="T15" fmla="*/ 2 h 143"/>
                <a:gd name="T16" fmla="*/ 32 w 81"/>
                <a:gd name="T17" fmla="*/ 2 h 143"/>
                <a:gd name="T18" fmla="*/ 32 w 81"/>
                <a:gd name="T19" fmla="*/ 30 h 143"/>
                <a:gd name="T20" fmla="*/ 33 w 81"/>
                <a:gd name="T21" fmla="*/ 30 h 143"/>
                <a:gd name="T22" fmla="*/ 47 w 81"/>
                <a:gd name="T23" fmla="*/ 8 h 143"/>
                <a:gd name="T24" fmla="*/ 69 w 81"/>
                <a:gd name="T25" fmla="*/ 0 h 143"/>
                <a:gd name="T26" fmla="*/ 81 w 81"/>
                <a:gd name="T27" fmla="*/ 2 h 143"/>
                <a:gd name="T28" fmla="*/ 81 w 81"/>
                <a:gd name="T29" fmla="*/ 3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1" h="143">
                  <a:moveTo>
                    <a:pt x="81" y="33"/>
                  </a:moveTo>
                  <a:cubicBezTo>
                    <a:pt x="80" y="32"/>
                    <a:pt x="77" y="31"/>
                    <a:pt x="73" y="30"/>
                  </a:cubicBezTo>
                  <a:cubicBezTo>
                    <a:pt x="70" y="29"/>
                    <a:pt x="66" y="28"/>
                    <a:pt x="63" y="28"/>
                  </a:cubicBezTo>
                  <a:cubicBezTo>
                    <a:pt x="54" y="28"/>
                    <a:pt x="46" y="32"/>
                    <a:pt x="41" y="40"/>
                  </a:cubicBezTo>
                  <a:cubicBezTo>
                    <a:pt x="35" y="48"/>
                    <a:pt x="32" y="58"/>
                    <a:pt x="32" y="71"/>
                  </a:cubicBezTo>
                  <a:cubicBezTo>
                    <a:pt x="32" y="143"/>
                    <a:pt x="32" y="143"/>
                    <a:pt x="32" y="143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6" y="20"/>
                    <a:pt x="41" y="13"/>
                    <a:pt x="47" y="8"/>
                  </a:cubicBezTo>
                  <a:cubicBezTo>
                    <a:pt x="53" y="2"/>
                    <a:pt x="60" y="0"/>
                    <a:pt x="69" y="0"/>
                  </a:cubicBezTo>
                  <a:cubicBezTo>
                    <a:pt x="74" y="0"/>
                    <a:pt x="78" y="1"/>
                    <a:pt x="81" y="2"/>
                  </a:cubicBezTo>
                  <a:lnTo>
                    <a:pt x="81" y="3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2" name="Freeform 38"/>
            <p:cNvSpPr>
              <a:spLocks/>
            </p:cNvSpPr>
            <p:nvPr userDrawn="1"/>
          </p:nvSpPr>
          <p:spPr bwMode="auto">
            <a:xfrm>
              <a:off x="2466975" y="2066926"/>
              <a:ext cx="201613" cy="231775"/>
            </a:xfrm>
            <a:custGeom>
              <a:avLst/>
              <a:gdLst>
                <a:gd name="T0" fmla="*/ 93 w 125"/>
                <a:gd name="T1" fmla="*/ 144 h 144"/>
                <a:gd name="T2" fmla="*/ 93 w 125"/>
                <a:gd name="T3" fmla="*/ 65 h 144"/>
                <a:gd name="T4" fmla="*/ 86 w 125"/>
                <a:gd name="T5" fmla="*/ 36 h 144"/>
                <a:gd name="T6" fmla="*/ 65 w 125"/>
                <a:gd name="T7" fmla="*/ 26 h 144"/>
                <a:gd name="T8" fmla="*/ 41 w 125"/>
                <a:gd name="T9" fmla="*/ 37 h 144"/>
                <a:gd name="T10" fmla="*/ 32 w 125"/>
                <a:gd name="T11" fmla="*/ 64 h 144"/>
                <a:gd name="T12" fmla="*/ 32 w 125"/>
                <a:gd name="T13" fmla="*/ 144 h 144"/>
                <a:gd name="T14" fmla="*/ 0 w 125"/>
                <a:gd name="T15" fmla="*/ 144 h 144"/>
                <a:gd name="T16" fmla="*/ 0 w 125"/>
                <a:gd name="T17" fmla="*/ 3 h 144"/>
                <a:gd name="T18" fmla="*/ 32 w 125"/>
                <a:gd name="T19" fmla="*/ 3 h 144"/>
                <a:gd name="T20" fmla="*/ 32 w 125"/>
                <a:gd name="T21" fmla="*/ 26 h 144"/>
                <a:gd name="T22" fmla="*/ 32 w 125"/>
                <a:gd name="T23" fmla="*/ 26 h 144"/>
                <a:gd name="T24" fmla="*/ 78 w 125"/>
                <a:gd name="T25" fmla="*/ 0 h 144"/>
                <a:gd name="T26" fmla="*/ 112 w 125"/>
                <a:gd name="T27" fmla="*/ 14 h 144"/>
                <a:gd name="T28" fmla="*/ 125 w 125"/>
                <a:gd name="T29" fmla="*/ 58 h 144"/>
                <a:gd name="T30" fmla="*/ 125 w 125"/>
                <a:gd name="T31" fmla="*/ 144 h 144"/>
                <a:gd name="T32" fmla="*/ 93 w 125"/>
                <a:gd name="T3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144">
                  <a:moveTo>
                    <a:pt x="93" y="144"/>
                  </a:moveTo>
                  <a:cubicBezTo>
                    <a:pt x="93" y="65"/>
                    <a:pt x="93" y="65"/>
                    <a:pt x="93" y="65"/>
                  </a:cubicBezTo>
                  <a:cubicBezTo>
                    <a:pt x="93" y="52"/>
                    <a:pt x="91" y="42"/>
                    <a:pt x="86" y="36"/>
                  </a:cubicBezTo>
                  <a:cubicBezTo>
                    <a:pt x="82" y="29"/>
                    <a:pt x="75" y="26"/>
                    <a:pt x="65" y="26"/>
                  </a:cubicBezTo>
                  <a:cubicBezTo>
                    <a:pt x="55" y="26"/>
                    <a:pt x="47" y="30"/>
                    <a:pt x="41" y="37"/>
                  </a:cubicBezTo>
                  <a:cubicBezTo>
                    <a:pt x="35" y="44"/>
                    <a:pt x="32" y="53"/>
                    <a:pt x="32" y="64"/>
                  </a:cubicBezTo>
                  <a:cubicBezTo>
                    <a:pt x="32" y="144"/>
                    <a:pt x="32" y="144"/>
                    <a:pt x="32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43" y="9"/>
                    <a:pt x="58" y="0"/>
                    <a:pt x="78" y="0"/>
                  </a:cubicBezTo>
                  <a:cubicBezTo>
                    <a:pt x="93" y="0"/>
                    <a:pt x="104" y="5"/>
                    <a:pt x="112" y="14"/>
                  </a:cubicBezTo>
                  <a:cubicBezTo>
                    <a:pt x="121" y="24"/>
                    <a:pt x="125" y="38"/>
                    <a:pt x="125" y="58"/>
                  </a:cubicBezTo>
                  <a:cubicBezTo>
                    <a:pt x="125" y="144"/>
                    <a:pt x="125" y="144"/>
                    <a:pt x="125" y="144"/>
                  </a:cubicBezTo>
                  <a:lnTo>
                    <a:pt x="93" y="1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3" name="Freeform 39"/>
            <p:cNvSpPr>
              <a:spLocks noEditPoints="1"/>
            </p:cNvSpPr>
            <p:nvPr userDrawn="1"/>
          </p:nvSpPr>
          <p:spPr bwMode="auto">
            <a:xfrm>
              <a:off x="2727325" y="1960563"/>
              <a:ext cx="63500" cy="338138"/>
            </a:xfrm>
            <a:custGeom>
              <a:avLst/>
              <a:gdLst>
                <a:gd name="T0" fmla="*/ 39 w 39"/>
                <a:gd name="T1" fmla="*/ 19 h 209"/>
                <a:gd name="T2" fmla="*/ 33 w 39"/>
                <a:gd name="T3" fmla="*/ 32 h 209"/>
                <a:gd name="T4" fmla="*/ 20 w 39"/>
                <a:gd name="T5" fmla="*/ 37 h 209"/>
                <a:gd name="T6" fmla="*/ 6 w 39"/>
                <a:gd name="T7" fmla="*/ 32 h 209"/>
                <a:gd name="T8" fmla="*/ 0 w 39"/>
                <a:gd name="T9" fmla="*/ 19 h 209"/>
                <a:gd name="T10" fmla="*/ 6 w 39"/>
                <a:gd name="T11" fmla="*/ 5 h 209"/>
                <a:gd name="T12" fmla="*/ 20 w 39"/>
                <a:gd name="T13" fmla="*/ 0 h 209"/>
                <a:gd name="T14" fmla="*/ 33 w 39"/>
                <a:gd name="T15" fmla="*/ 5 h 209"/>
                <a:gd name="T16" fmla="*/ 39 w 39"/>
                <a:gd name="T17" fmla="*/ 19 h 209"/>
                <a:gd name="T18" fmla="*/ 3 w 39"/>
                <a:gd name="T19" fmla="*/ 209 h 209"/>
                <a:gd name="T20" fmla="*/ 3 w 39"/>
                <a:gd name="T21" fmla="*/ 68 h 209"/>
                <a:gd name="T22" fmla="*/ 35 w 39"/>
                <a:gd name="T23" fmla="*/ 68 h 209"/>
                <a:gd name="T24" fmla="*/ 35 w 39"/>
                <a:gd name="T25" fmla="*/ 209 h 209"/>
                <a:gd name="T26" fmla="*/ 3 w 39"/>
                <a:gd name="T27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209">
                  <a:moveTo>
                    <a:pt x="39" y="19"/>
                  </a:moveTo>
                  <a:cubicBezTo>
                    <a:pt x="39" y="24"/>
                    <a:pt x="37" y="28"/>
                    <a:pt x="33" y="32"/>
                  </a:cubicBezTo>
                  <a:cubicBezTo>
                    <a:pt x="30" y="35"/>
                    <a:pt x="25" y="37"/>
                    <a:pt x="20" y="37"/>
                  </a:cubicBezTo>
                  <a:cubicBezTo>
                    <a:pt x="14" y="37"/>
                    <a:pt x="10" y="35"/>
                    <a:pt x="6" y="32"/>
                  </a:cubicBezTo>
                  <a:cubicBezTo>
                    <a:pt x="2" y="28"/>
                    <a:pt x="0" y="24"/>
                    <a:pt x="0" y="19"/>
                  </a:cubicBezTo>
                  <a:cubicBezTo>
                    <a:pt x="0" y="13"/>
                    <a:pt x="2" y="9"/>
                    <a:pt x="6" y="5"/>
                  </a:cubicBezTo>
                  <a:cubicBezTo>
                    <a:pt x="10" y="2"/>
                    <a:pt x="14" y="0"/>
                    <a:pt x="20" y="0"/>
                  </a:cubicBezTo>
                  <a:cubicBezTo>
                    <a:pt x="25" y="0"/>
                    <a:pt x="30" y="2"/>
                    <a:pt x="33" y="5"/>
                  </a:cubicBezTo>
                  <a:cubicBezTo>
                    <a:pt x="37" y="9"/>
                    <a:pt x="39" y="14"/>
                    <a:pt x="39" y="19"/>
                  </a:cubicBezTo>
                  <a:close/>
                  <a:moveTo>
                    <a:pt x="3" y="209"/>
                  </a:moveTo>
                  <a:cubicBezTo>
                    <a:pt x="3" y="68"/>
                    <a:pt x="3" y="68"/>
                    <a:pt x="3" y="68"/>
                  </a:cubicBezTo>
                  <a:cubicBezTo>
                    <a:pt x="35" y="68"/>
                    <a:pt x="35" y="68"/>
                    <a:pt x="35" y="68"/>
                  </a:cubicBezTo>
                  <a:cubicBezTo>
                    <a:pt x="35" y="209"/>
                    <a:pt x="35" y="209"/>
                    <a:pt x="35" y="209"/>
                  </a:cubicBezTo>
                  <a:lnTo>
                    <a:pt x="3" y="20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4" name="Freeform 40"/>
            <p:cNvSpPr>
              <a:spLocks/>
            </p:cNvSpPr>
            <p:nvPr userDrawn="1"/>
          </p:nvSpPr>
          <p:spPr bwMode="auto">
            <a:xfrm>
              <a:off x="2824163" y="2071688"/>
              <a:ext cx="193675" cy="227013"/>
            </a:xfrm>
            <a:custGeom>
              <a:avLst/>
              <a:gdLst>
                <a:gd name="T0" fmla="*/ 46 w 122"/>
                <a:gd name="T1" fmla="*/ 117 h 143"/>
                <a:gd name="T2" fmla="*/ 122 w 122"/>
                <a:gd name="T3" fmla="*/ 117 h 143"/>
                <a:gd name="T4" fmla="*/ 122 w 122"/>
                <a:gd name="T5" fmla="*/ 143 h 143"/>
                <a:gd name="T6" fmla="*/ 0 w 122"/>
                <a:gd name="T7" fmla="*/ 143 h 143"/>
                <a:gd name="T8" fmla="*/ 0 w 122"/>
                <a:gd name="T9" fmla="*/ 132 h 143"/>
                <a:gd name="T10" fmla="*/ 77 w 122"/>
                <a:gd name="T11" fmla="*/ 26 h 143"/>
                <a:gd name="T12" fmla="*/ 8 w 122"/>
                <a:gd name="T13" fmla="*/ 26 h 143"/>
                <a:gd name="T14" fmla="*/ 8 w 122"/>
                <a:gd name="T15" fmla="*/ 0 h 143"/>
                <a:gd name="T16" fmla="*/ 122 w 122"/>
                <a:gd name="T17" fmla="*/ 0 h 143"/>
                <a:gd name="T18" fmla="*/ 122 w 122"/>
                <a:gd name="T19" fmla="*/ 12 h 143"/>
                <a:gd name="T20" fmla="*/ 46 w 122"/>
                <a:gd name="T21" fmla="*/ 117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43">
                  <a:moveTo>
                    <a:pt x="46" y="117"/>
                  </a:moveTo>
                  <a:lnTo>
                    <a:pt x="122" y="117"/>
                  </a:lnTo>
                  <a:lnTo>
                    <a:pt x="122" y="143"/>
                  </a:lnTo>
                  <a:lnTo>
                    <a:pt x="0" y="143"/>
                  </a:lnTo>
                  <a:lnTo>
                    <a:pt x="0" y="132"/>
                  </a:lnTo>
                  <a:lnTo>
                    <a:pt x="77" y="26"/>
                  </a:lnTo>
                  <a:lnTo>
                    <a:pt x="8" y="26"/>
                  </a:lnTo>
                  <a:lnTo>
                    <a:pt x="8" y="0"/>
                  </a:lnTo>
                  <a:lnTo>
                    <a:pt x="122" y="0"/>
                  </a:lnTo>
                  <a:lnTo>
                    <a:pt x="122" y="12"/>
                  </a:lnTo>
                  <a:lnTo>
                    <a:pt x="46" y="1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5" name="Freeform 41"/>
            <p:cNvSpPr>
              <a:spLocks noEditPoints="1"/>
            </p:cNvSpPr>
            <p:nvPr userDrawn="1"/>
          </p:nvSpPr>
          <p:spPr bwMode="auto">
            <a:xfrm>
              <a:off x="3057525" y="1960563"/>
              <a:ext cx="63500" cy="338138"/>
            </a:xfrm>
            <a:custGeom>
              <a:avLst/>
              <a:gdLst>
                <a:gd name="T0" fmla="*/ 39 w 39"/>
                <a:gd name="T1" fmla="*/ 19 h 209"/>
                <a:gd name="T2" fmla="*/ 33 w 39"/>
                <a:gd name="T3" fmla="*/ 32 h 209"/>
                <a:gd name="T4" fmla="*/ 19 w 39"/>
                <a:gd name="T5" fmla="*/ 37 h 209"/>
                <a:gd name="T6" fmla="*/ 5 w 39"/>
                <a:gd name="T7" fmla="*/ 32 h 209"/>
                <a:gd name="T8" fmla="*/ 0 w 39"/>
                <a:gd name="T9" fmla="*/ 19 h 209"/>
                <a:gd name="T10" fmla="*/ 6 w 39"/>
                <a:gd name="T11" fmla="*/ 5 h 209"/>
                <a:gd name="T12" fmla="*/ 19 w 39"/>
                <a:gd name="T13" fmla="*/ 0 h 209"/>
                <a:gd name="T14" fmla="*/ 33 w 39"/>
                <a:gd name="T15" fmla="*/ 5 h 209"/>
                <a:gd name="T16" fmla="*/ 39 w 39"/>
                <a:gd name="T17" fmla="*/ 19 h 209"/>
                <a:gd name="T18" fmla="*/ 3 w 39"/>
                <a:gd name="T19" fmla="*/ 209 h 209"/>
                <a:gd name="T20" fmla="*/ 3 w 39"/>
                <a:gd name="T21" fmla="*/ 68 h 209"/>
                <a:gd name="T22" fmla="*/ 35 w 39"/>
                <a:gd name="T23" fmla="*/ 68 h 209"/>
                <a:gd name="T24" fmla="*/ 35 w 39"/>
                <a:gd name="T25" fmla="*/ 209 h 209"/>
                <a:gd name="T26" fmla="*/ 3 w 39"/>
                <a:gd name="T27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209">
                  <a:moveTo>
                    <a:pt x="39" y="19"/>
                  </a:moveTo>
                  <a:cubicBezTo>
                    <a:pt x="39" y="24"/>
                    <a:pt x="37" y="28"/>
                    <a:pt x="33" y="32"/>
                  </a:cubicBezTo>
                  <a:cubicBezTo>
                    <a:pt x="29" y="35"/>
                    <a:pt x="25" y="37"/>
                    <a:pt x="19" y="37"/>
                  </a:cubicBezTo>
                  <a:cubicBezTo>
                    <a:pt x="14" y="37"/>
                    <a:pt x="9" y="35"/>
                    <a:pt x="5" y="32"/>
                  </a:cubicBezTo>
                  <a:cubicBezTo>
                    <a:pt x="2" y="28"/>
                    <a:pt x="0" y="24"/>
                    <a:pt x="0" y="19"/>
                  </a:cubicBezTo>
                  <a:cubicBezTo>
                    <a:pt x="0" y="13"/>
                    <a:pt x="2" y="9"/>
                    <a:pt x="6" y="5"/>
                  </a:cubicBezTo>
                  <a:cubicBezTo>
                    <a:pt x="9" y="2"/>
                    <a:pt x="14" y="0"/>
                    <a:pt x="19" y="0"/>
                  </a:cubicBezTo>
                  <a:cubicBezTo>
                    <a:pt x="25" y="0"/>
                    <a:pt x="29" y="2"/>
                    <a:pt x="33" y="5"/>
                  </a:cubicBezTo>
                  <a:cubicBezTo>
                    <a:pt x="37" y="9"/>
                    <a:pt x="39" y="14"/>
                    <a:pt x="39" y="19"/>
                  </a:cubicBezTo>
                  <a:close/>
                  <a:moveTo>
                    <a:pt x="3" y="209"/>
                  </a:moveTo>
                  <a:cubicBezTo>
                    <a:pt x="3" y="68"/>
                    <a:pt x="3" y="68"/>
                    <a:pt x="3" y="68"/>
                  </a:cubicBezTo>
                  <a:cubicBezTo>
                    <a:pt x="35" y="68"/>
                    <a:pt x="35" y="68"/>
                    <a:pt x="35" y="68"/>
                  </a:cubicBezTo>
                  <a:cubicBezTo>
                    <a:pt x="35" y="209"/>
                    <a:pt x="35" y="209"/>
                    <a:pt x="35" y="209"/>
                  </a:cubicBezTo>
                  <a:lnTo>
                    <a:pt x="3" y="20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6" name="Freeform 42"/>
            <p:cNvSpPr>
              <a:spLocks/>
            </p:cNvSpPr>
            <p:nvPr userDrawn="1"/>
          </p:nvSpPr>
          <p:spPr bwMode="auto">
            <a:xfrm>
              <a:off x="3182938" y="2066926"/>
              <a:ext cx="203200" cy="231775"/>
            </a:xfrm>
            <a:custGeom>
              <a:avLst/>
              <a:gdLst>
                <a:gd name="T0" fmla="*/ 93 w 125"/>
                <a:gd name="T1" fmla="*/ 144 h 144"/>
                <a:gd name="T2" fmla="*/ 93 w 125"/>
                <a:gd name="T3" fmla="*/ 65 h 144"/>
                <a:gd name="T4" fmla="*/ 86 w 125"/>
                <a:gd name="T5" fmla="*/ 36 h 144"/>
                <a:gd name="T6" fmla="*/ 65 w 125"/>
                <a:gd name="T7" fmla="*/ 26 h 144"/>
                <a:gd name="T8" fmla="*/ 41 w 125"/>
                <a:gd name="T9" fmla="*/ 37 h 144"/>
                <a:gd name="T10" fmla="*/ 32 w 125"/>
                <a:gd name="T11" fmla="*/ 64 h 144"/>
                <a:gd name="T12" fmla="*/ 32 w 125"/>
                <a:gd name="T13" fmla="*/ 144 h 144"/>
                <a:gd name="T14" fmla="*/ 0 w 125"/>
                <a:gd name="T15" fmla="*/ 144 h 144"/>
                <a:gd name="T16" fmla="*/ 0 w 125"/>
                <a:gd name="T17" fmla="*/ 3 h 144"/>
                <a:gd name="T18" fmla="*/ 32 w 125"/>
                <a:gd name="T19" fmla="*/ 3 h 144"/>
                <a:gd name="T20" fmla="*/ 32 w 125"/>
                <a:gd name="T21" fmla="*/ 26 h 144"/>
                <a:gd name="T22" fmla="*/ 32 w 125"/>
                <a:gd name="T23" fmla="*/ 26 h 144"/>
                <a:gd name="T24" fmla="*/ 78 w 125"/>
                <a:gd name="T25" fmla="*/ 0 h 144"/>
                <a:gd name="T26" fmla="*/ 112 w 125"/>
                <a:gd name="T27" fmla="*/ 14 h 144"/>
                <a:gd name="T28" fmla="*/ 125 w 125"/>
                <a:gd name="T29" fmla="*/ 58 h 144"/>
                <a:gd name="T30" fmla="*/ 125 w 125"/>
                <a:gd name="T31" fmla="*/ 144 h 144"/>
                <a:gd name="T32" fmla="*/ 93 w 125"/>
                <a:gd name="T3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144">
                  <a:moveTo>
                    <a:pt x="93" y="144"/>
                  </a:moveTo>
                  <a:cubicBezTo>
                    <a:pt x="93" y="65"/>
                    <a:pt x="93" y="65"/>
                    <a:pt x="93" y="65"/>
                  </a:cubicBezTo>
                  <a:cubicBezTo>
                    <a:pt x="93" y="52"/>
                    <a:pt x="91" y="42"/>
                    <a:pt x="86" y="36"/>
                  </a:cubicBezTo>
                  <a:cubicBezTo>
                    <a:pt x="82" y="29"/>
                    <a:pt x="75" y="26"/>
                    <a:pt x="65" y="26"/>
                  </a:cubicBezTo>
                  <a:cubicBezTo>
                    <a:pt x="55" y="26"/>
                    <a:pt x="47" y="30"/>
                    <a:pt x="41" y="37"/>
                  </a:cubicBezTo>
                  <a:cubicBezTo>
                    <a:pt x="35" y="44"/>
                    <a:pt x="32" y="53"/>
                    <a:pt x="32" y="64"/>
                  </a:cubicBezTo>
                  <a:cubicBezTo>
                    <a:pt x="32" y="144"/>
                    <a:pt x="32" y="144"/>
                    <a:pt x="32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43" y="9"/>
                    <a:pt x="58" y="0"/>
                    <a:pt x="78" y="0"/>
                  </a:cubicBezTo>
                  <a:cubicBezTo>
                    <a:pt x="93" y="0"/>
                    <a:pt x="104" y="5"/>
                    <a:pt x="112" y="14"/>
                  </a:cubicBezTo>
                  <a:cubicBezTo>
                    <a:pt x="121" y="24"/>
                    <a:pt x="125" y="38"/>
                    <a:pt x="125" y="58"/>
                  </a:cubicBezTo>
                  <a:cubicBezTo>
                    <a:pt x="125" y="144"/>
                    <a:pt x="125" y="144"/>
                    <a:pt x="125" y="144"/>
                  </a:cubicBezTo>
                  <a:lnTo>
                    <a:pt x="93" y="1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7" name="Freeform 43"/>
            <p:cNvSpPr>
              <a:spLocks noEditPoints="1"/>
            </p:cNvSpPr>
            <p:nvPr userDrawn="1"/>
          </p:nvSpPr>
          <p:spPr bwMode="auto">
            <a:xfrm>
              <a:off x="3433763" y="2066926"/>
              <a:ext cx="220663" cy="339725"/>
            </a:xfrm>
            <a:custGeom>
              <a:avLst/>
              <a:gdLst>
                <a:gd name="T0" fmla="*/ 137 w 137"/>
                <a:gd name="T1" fmla="*/ 131 h 210"/>
                <a:gd name="T2" fmla="*/ 116 w 137"/>
                <a:gd name="T3" fmla="*/ 190 h 210"/>
                <a:gd name="T4" fmla="*/ 57 w 137"/>
                <a:gd name="T5" fmla="*/ 210 h 210"/>
                <a:gd name="T6" fmla="*/ 32 w 137"/>
                <a:gd name="T7" fmla="*/ 207 h 210"/>
                <a:gd name="T8" fmla="*/ 11 w 137"/>
                <a:gd name="T9" fmla="*/ 201 h 210"/>
                <a:gd name="T10" fmla="*/ 11 w 137"/>
                <a:gd name="T11" fmla="*/ 171 h 210"/>
                <a:gd name="T12" fmla="*/ 35 w 137"/>
                <a:gd name="T13" fmla="*/ 182 h 210"/>
                <a:gd name="T14" fmla="*/ 57 w 137"/>
                <a:gd name="T15" fmla="*/ 184 h 210"/>
                <a:gd name="T16" fmla="*/ 92 w 137"/>
                <a:gd name="T17" fmla="*/ 172 h 210"/>
                <a:gd name="T18" fmla="*/ 105 w 137"/>
                <a:gd name="T19" fmla="*/ 135 h 210"/>
                <a:gd name="T20" fmla="*/ 105 w 137"/>
                <a:gd name="T21" fmla="*/ 122 h 210"/>
                <a:gd name="T22" fmla="*/ 104 w 137"/>
                <a:gd name="T23" fmla="*/ 122 h 210"/>
                <a:gd name="T24" fmla="*/ 86 w 137"/>
                <a:gd name="T25" fmla="*/ 141 h 210"/>
                <a:gd name="T26" fmla="*/ 58 w 137"/>
                <a:gd name="T27" fmla="*/ 147 h 210"/>
                <a:gd name="T28" fmla="*/ 16 w 137"/>
                <a:gd name="T29" fmla="*/ 129 h 210"/>
                <a:gd name="T30" fmla="*/ 0 w 137"/>
                <a:gd name="T31" fmla="*/ 78 h 210"/>
                <a:gd name="T32" fmla="*/ 17 w 137"/>
                <a:gd name="T33" fmla="*/ 21 h 210"/>
                <a:gd name="T34" fmla="*/ 64 w 137"/>
                <a:gd name="T35" fmla="*/ 0 h 210"/>
                <a:gd name="T36" fmla="*/ 104 w 137"/>
                <a:gd name="T37" fmla="*/ 21 h 210"/>
                <a:gd name="T38" fmla="*/ 105 w 137"/>
                <a:gd name="T39" fmla="*/ 21 h 210"/>
                <a:gd name="T40" fmla="*/ 105 w 137"/>
                <a:gd name="T41" fmla="*/ 3 h 210"/>
                <a:gd name="T42" fmla="*/ 137 w 137"/>
                <a:gd name="T43" fmla="*/ 3 h 210"/>
                <a:gd name="T44" fmla="*/ 137 w 137"/>
                <a:gd name="T45" fmla="*/ 131 h 210"/>
                <a:gd name="T46" fmla="*/ 105 w 137"/>
                <a:gd name="T47" fmla="*/ 62 h 210"/>
                <a:gd name="T48" fmla="*/ 95 w 137"/>
                <a:gd name="T49" fmla="*/ 36 h 210"/>
                <a:gd name="T50" fmla="*/ 71 w 137"/>
                <a:gd name="T51" fmla="*/ 26 h 210"/>
                <a:gd name="T52" fmla="*/ 43 w 137"/>
                <a:gd name="T53" fmla="*/ 39 h 210"/>
                <a:gd name="T54" fmla="*/ 33 w 137"/>
                <a:gd name="T55" fmla="*/ 77 h 210"/>
                <a:gd name="T56" fmla="*/ 43 w 137"/>
                <a:gd name="T57" fmla="*/ 109 h 210"/>
                <a:gd name="T58" fmla="*/ 68 w 137"/>
                <a:gd name="T59" fmla="*/ 121 h 210"/>
                <a:gd name="T60" fmla="*/ 95 w 137"/>
                <a:gd name="T61" fmla="*/ 109 h 210"/>
                <a:gd name="T62" fmla="*/ 105 w 137"/>
                <a:gd name="T63" fmla="*/ 78 h 210"/>
                <a:gd name="T64" fmla="*/ 105 w 137"/>
                <a:gd name="T65" fmla="*/ 62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7" h="210">
                  <a:moveTo>
                    <a:pt x="137" y="131"/>
                  </a:moveTo>
                  <a:cubicBezTo>
                    <a:pt x="137" y="156"/>
                    <a:pt x="130" y="176"/>
                    <a:pt x="116" y="190"/>
                  </a:cubicBezTo>
                  <a:cubicBezTo>
                    <a:pt x="102" y="203"/>
                    <a:pt x="83" y="210"/>
                    <a:pt x="57" y="210"/>
                  </a:cubicBezTo>
                  <a:cubicBezTo>
                    <a:pt x="49" y="210"/>
                    <a:pt x="40" y="209"/>
                    <a:pt x="32" y="207"/>
                  </a:cubicBezTo>
                  <a:cubicBezTo>
                    <a:pt x="23" y="206"/>
                    <a:pt x="16" y="204"/>
                    <a:pt x="11" y="201"/>
                  </a:cubicBezTo>
                  <a:cubicBezTo>
                    <a:pt x="11" y="171"/>
                    <a:pt x="11" y="171"/>
                    <a:pt x="11" y="171"/>
                  </a:cubicBezTo>
                  <a:cubicBezTo>
                    <a:pt x="20" y="176"/>
                    <a:pt x="28" y="180"/>
                    <a:pt x="35" y="182"/>
                  </a:cubicBezTo>
                  <a:cubicBezTo>
                    <a:pt x="42" y="184"/>
                    <a:pt x="50" y="184"/>
                    <a:pt x="57" y="184"/>
                  </a:cubicBezTo>
                  <a:cubicBezTo>
                    <a:pt x="72" y="184"/>
                    <a:pt x="84" y="180"/>
                    <a:pt x="92" y="172"/>
                  </a:cubicBezTo>
                  <a:cubicBezTo>
                    <a:pt x="101" y="164"/>
                    <a:pt x="105" y="151"/>
                    <a:pt x="105" y="135"/>
                  </a:cubicBezTo>
                  <a:cubicBezTo>
                    <a:pt x="105" y="122"/>
                    <a:pt x="105" y="122"/>
                    <a:pt x="105" y="122"/>
                  </a:cubicBezTo>
                  <a:cubicBezTo>
                    <a:pt x="104" y="122"/>
                    <a:pt x="104" y="122"/>
                    <a:pt x="104" y="122"/>
                  </a:cubicBezTo>
                  <a:cubicBezTo>
                    <a:pt x="99" y="130"/>
                    <a:pt x="93" y="136"/>
                    <a:pt x="86" y="141"/>
                  </a:cubicBezTo>
                  <a:cubicBezTo>
                    <a:pt x="79" y="145"/>
                    <a:pt x="69" y="147"/>
                    <a:pt x="58" y="147"/>
                  </a:cubicBezTo>
                  <a:cubicBezTo>
                    <a:pt x="41" y="147"/>
                    <a:pt x="26" y="141"/>
                    <a:pt x="16" y="129"/>
                  </a:cubicBezTo>
                  <a:cubicBezTo>
                    <a:pt x="5" y="116"/>
                    <a:pt x="0" y="99"/>
                    <a:pt x="0" y="78"/>
                  </a:cubicBezTo>
                  <a:cubicBezTo>
                    <a:pt x="0" y="54"/>
                    <a:pt x="6" y="35"/>
                    <a:pt x="17" y="21"/>
                  </a:cubicBezTo>
                  <a:cubicBezTo>
                    <a:pt x="29" y="7"/>
                    <a:pt x="45" y="0"/>
                    <a:pt x="64" y="0"/>
                  </a:cubicBezTo>
                  <a:cubicBezTo>
                    <a:pt x="82" y="0"/>
                    <a:pt x="95" y="7"/>
                    <a:pt x="104" y="21"/>
                  </a:cubicBezTo>
                  <a:cubicBezTo>
                    <a:pt x="105" y="21"/>
                    <a:pt x="105" y="21"/>
                    <a:pt x="105" y="21"/>
                  </a:cubicBezTo>
                  <a:cubicBezTo>
                    <a:pt x="105" y="3"/>
                    <a:pt x="105" y="3"/>
                    <a:pt x="105" y="3"/>
                  </a:cubicBezTo>
                  <a:cubicBezTo>
                    <a:pt x="137" y="3"/>
                    <a:pt x="137" y="3"/>
                    <a:pt x="137" y="3"/>
                  </a:cubicBezTo>
                  <a:lnTo>
                    <a:pt x="137" y="131"/>
                  </a:lnTo>
                  <a:close/>
                  <a:moveTo>
                    <a:pt x="105" y="62"/>
                  </a:moveTo>
                  <a:cubicBezTo>
                    <a:pt x="105" y="52"/>
                    <a:pt x="102" y="43"/>
                    <a:pt x="95" y="36"/>
                  </a:cubicBezTo>
                  <a:cubicBezTo>
                    <a:pt x="89" y="29"/>
                    <a:pt x="80" y="26"/>
                    <a:pt x="71" y="26"/>
                  </a:cubicBezTo>
                  <a:cubicBezTo>
                    <a:pt x="59" y="26"/>
                    <a:pt x="49" y="30"/>
                    <a:pt x="43" y="39"/>
                  </a:cubicBezTo>
                  <a:cubicBezTo>
                    <a:pt x="36" y="48"/>
                    <a:pt x="33" y="60"/>
                    <a:pt x="33" y="77"/>
                  </a:cubicBezTo>
                  <a:cubicBezTo>
                    <a:pt x="33" y="91"/>
                    <a:pt x="36" y="101"/>
                    <a:pt x="43" y="109"/>
                  </a:cubicBezTo>
                  <a:cubicBezTo>
                    <a:pt x="49" y="117"/>
                    <a:pt x="58" y="121"/>
                    <a:pt x="68" y="121"/>
                  </a:cubicBezTo>
                  <a:cubicBezTo>
                    <a:pt x="79" y="121"/>
                    <a:pt x="88" y="117"/>
                    <a:pt x="95" y="109"/>
                  </a:cubicBezTo>
                  <a:cubicBezTo>
                    <a:pt x="102" y="101"/>
                    <a:pt x="105" y="91"/>
                    <a:pt x="105" y="78"/>
                  </a:cubicBezTo>
                  <a:lnTo>
                    <a:pt x="105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8" name="Freeform 44"/>
            <p:cNvSpPr>
              <a:spLocks/>
            </p:cNvSpPr>
            <p:nvPr userDrawn="1"/>
          </p:nvSpPr>
          <p:spPr bwMode="auto">
            <a:xfrm>
              <a:off x="3795713" y="2058988"/>
              <a:ext cx="198438" cy="239713"/>
            </a:xfrm>
            <a:custGeom>
              <a:avLst/>
              <a:gdLst>
                <a:gd name="T0" fmla="*/ 73 w 123"/>
                <a:gd name="T1" fmla="*/ 95 h 149"/>
                <a:gd name="T2" fmla="*/ 73 w 123"/>
                <a:gd name="T3" fmla="*/ 149 h 149"/>
                <a:gd name="T4" fmla="*/ 48 w 123"/>
                <a:gd name="T5" fmla="*/ 149 h 149"/>
                <a:gd name="T6" fmla="*/ 48 w 123"/>
                <a:gd name="T7" fmla="*/ 95 h 149"/>
                <a:gd name="T8" fmla="*/ 0 w 123"/>
                <a:gd name="T9" fmla="*/ 0 h 149"/>
                <a:gd name="T10" fmla="*/ 28 w 123"/>
                <a:gd name="T11" fmla="*/ 0 h 149"/>
                <a:gd name="T12" fmla="*/ 58 w 123"/>
                <a:gd name="T13" fmla="*/ 62 h 149"/>
                <a:gd name="T14" fmla="*/ 60 w 123"/>
                <a:gd name="T15" fmla="*/ 67 h 149"/>
                <a:gd name="T16" fmla="*/ 62 w 123"/>
                <a:gd name="T17" fmla="*/ 72 h 149"/>
                <a:gd name="T18" fmla="*/ 62 w 123"/>
                <a:gd name="T19" fmla="*/ 72 h 149"/>
                <a:gd name="T20" fmla="*/ 65 w 123"/>
                <a:gd name="T21" fmla="*/ 62 h 149"/>
                <a:gd name="T22" fmla="*/ 96 w 123"/>
                <a:gd name="T23" fmla="*/ 0 h 149"/>
                <a:gd name="T24" fmla="*/ 123 w 123"/>
                <a:gd name="T25" fmla="*/ 0 h 149"/>
                <a:gd name="T26" fmla="*/ 73 w 123"/>
                <a:gd name="T27" fmla="*/ 9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3" h="149">
                  <a:moveTo>
                    <a:pt x="73" y="95"/>
                  </a:moveTo>
                  <a:cubicBezTo>
                    <a:pt x="73" y="149"/>
                    <a:pt x="73" y="149"/>
                    <a:pt x="73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8" y="95"/>
                    <a:pt x="48" y="95"/>
                    <a:pt x="48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58" y="62"/>
                    <a:pt x="58" y="62"/>
                    <a:pt x="58" y="62"/>
                  </a:cubicBezTo>
                  <a:cubicBezTo>
                    <a:pt x="59" y="64"/>
                    <a:pt x="60" y="66"/>
                    <a:pt x="60" y="67"/>
                  </a:cubicBezTo>
                  <a:cubicBezTo>
                    <a:pt x="61" y="69"/>
                    <a:pt x="61" y="70"/>
                    <a:pt x="62" y="72"/>
                  </a:cubicBezTo>
                  <a:cubicBezTo>
                    <a:pt x="62" y="72"/>
                    <a:pt x="62" y="72"/>
                    <a:pt x="62" y="72"/>
                  </a:cubicBezTo>
                  <a:cubicBezTo>
                    <a:pt x="63" y="68"/>
                    <a:pt x="64" y="65"/>
                    <a:pt x="65" y="62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23" y="0"/>
                    <a:pt x="123" y="0"/>
                    <a:pt x="123" y="0"/>
                  </a:cubicBezTo>
                  <a:lnTo>
                    <a:pt x="73" y="95"/>
                  </a:ln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9" name="Freeform 45"/>
            <p:cNvSpPr>
              <a:spLocks noEditPoints="1"/>
            </p:cNvSpPr>
            <p:nvPr userDrawn="1"/>
          </p:nvSpPr>
          <p:spPr bwMode="auto">
            <a:xfrm>
              <a:off x="3967163" y="2122488"/>
              <a:ext cx="177800" cy="180975"/>
            </a:xfrm>
            <a:custGeom>
              <a:avLst/>
              <a:gdLst>
                <a:gd name="T0" fmla="*/ 110 w 110"/>
                <a:gd name="T1" fmla="*/ 55 h 112"/>
                <a:gd name="T2" fmla="*/ 95 w 110"/>
                <a:gd name="T3" fmla="*/ 96 h 112"/>
                <a:gd name="T4" fmla="*/ 54 w 110"/>
                <a:gd name="T5" fmla="*/ 112 h 112"/>
                <a:gd name="T6" fmla="*/ 15 w 110"/>
                <a:gd name="T7" fmla="*/ 97 h 112"/>
                <a:gd name="T8" fmla="*/ 0 w 110"/>
                <a:gd name="T9" fmla="*/ 57 h 112"/>
                <a:gd name="T10" fmla="*/ 15 w 110"/>
                <a:gd name="T11" fmla="*/ 15 h 112"/>
                <a:gd name="T12" fmla="*/ 56 w 110"/>
                <a:gd name="T13" fmla="*/ 0 h 112"/>
                <a:gd name="T14" fmla="*/ 96 w 110"/>
                <a:gd name="T15" fmla="*/ 14 h 112"/>
                <a:gd name="T16" fmla="*/ 110 w 110"/>
                <a:gd name="T17" fmla="*/ 55 h 112"/>
                <a:gd name="T18" fmla="*/ 85 w 110"/>
                <a:gd name="T19" fmla="*/ 55 h 112"/>
                <a:gd name="T20" fmla="*/ 77 w 110"/>
                <a:gd name="T21" fmla="*/ 29 h 112"/>
                <a:gd name="T22" fmla="*/ 55 w 110"/>
                <a:gd name="T23" fmla="*/ 19 h 112"/>
                <a:gd name="T24" fmla="*/ 33 w 110"/>
                <a:gd name="T25" fmla="*/ 29 h 112"/>
                <a:gd name="T26" fmla="*/ 25 w 110"/>
                <a:gd name="T27" fmla="*/ 56 h 112"/>
                <a:gd name="T28" fmla="*/ 33 w 110"/>
                <a:gd name="T29" fmla="*/ 82 h 112"/>
                <a:gd name="T30" fmla="*/ 55 w 110"/>
                <a:gd name="T31" fmla="*/ 92 h 112"/>
                <a:gd name="T32" fmla="*/ 77 w 110"/>
                <a:gd name="T33" fmla="*/ 83 h 112"/>
                <a:gd name="T34" fmla="*/ 85 w 110"/>
                <a:gd name="T35" fmla="*/ 5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112">
                  <a:moveTo>
                    <a:pt x="110" y="55"/>
                  </a:moveTo>
                  <a:cubicBezTo>
                    <a:pt x="110" y="72"/>
                    <a:pt x="105" y="86"/>
                    <a:pt x="95" y="96"/>
                  </a:cubicBezTo>
                  <a:cubicBezTo>
                    <a:pt x="85" y="106"/>
                    <a:pt x="71" y="112"/>
                    <a:pt x="54" y="112"/>
                  </a:cubicBezTo>
                  <a:cubicBezTo>
                    <a:pt x="37" y="112"/>
                    <a:pt x="24" y="107"/>
                    <a:pt x="15" y="97"/>
                  </a:cubicBezTo>
                  <a:cubicBezTo>
                    <a:pt x="5" y="87"/>
                    <a:pt x="0" y="74"/>
                    <a:pt x="0" y="57"/>
                  </a:cubicBezTo>
                  <a:cubicBezTo>
                    <a:pt x="0" y="39"/>
                    <a:pt x="5" y="25"/>
                    <a:pt x="15" y="15"/>
                  </a:cubicBezTo>
                  <a:cubicBezTo>
                    <a:pt x="25" y="5"/>
                    <a:pt x="39" y="0"/>
                    <a:pt x="56" y="0"/>
                  </a:cubicBezTo>
                  <a:cubicBezTo>
                    <a:pt x="73" y="0"/>
                    <a:pt x="86" y="5"/>
                    <a:pt x="96" y="14"/>
                  </a:cubicBezTo>
                  <a:cubicBezTo>
                    <a:pt x="105" y="24"/>
                    <a:pt x="110" y="38"/>
                    <a:pt x="110" y="55"/>
                  </a:cubicBezTo>
                  <a:close/>
                  <a:moveTo>
                    <a:pt x="85" y="55"/>
                  </a:moveTo>
                  <a:cubicBezTo>
                    <a:pt x="85" y="44"/>
                    <a:pt x="82" y="35"/>
                    <a:pt x="77" y="29"/>
                  </a:cubicBezTo>
                  <a:cubicBezTo>
                    <a:pt x="71" y="22"/>
                    <a:pt x="64" y="19"/>
                    <a:pt x="55" y="19"/>
                  </a:cubicBezTo>
                  <a:cubicBezTo>
                    <a:pt x="46" y="19"/>
                    <a:pt x="38" y="23"/>
                    <a:pt x="33" y="29"/>
                  </a:cubicBezTo>
                  <a:cubicBezTo>
                    <a:pt x="28" y="35"/>
                    <a:pt x="25" y="44"/>
                    <a:pt x="25" y="56"/>
                  </a:cubicBezTo>
                  <a:cubicBezTo>
                    <a:pt x="25" y="67"/>
                    <a:pt x="28" y="76"/>
                    <a:pt x="33" y="82"/>
                  </a:cubicBezTo>
                  <a:cubicBezTo>
                    <a:pt x="38" y="89"/>
                    <a:pt x="46" y="92"/>
                    <a:pt x="55" y="92"/>
                  </a:cubicBezTo>
                  <a:cubicBezTo>
                    <a:pt x="65" y="92"/>
                    <a:pt x="72" y="89"/>
                    <a:pt x="77" y="83"/>
                  </a:cubicBezTo>
                  <a:cubicBezTo>
                    <a:pt x="82" y="76"/>
                    <a:pt x="85" y="67"/>
                    <a:pt x="85" y="55"/>
                  </a:cubicBez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0" name="Freeform 46"/>
            <p:cNvSpPr>
              <a:spLocks/>
            </p:cNvSpPr>
            <p:nvPr userDrawn="1"/>
          </p:nvSpPr>
          <p:spPr bwMode="auto">
            <a:xfrm>
              <a:off x="4181475" y="2125663"/>
              <a:ext cx="153988" cy="177800"/>
            </a:xfrm>
            <a:custGeom>
              <a:avLst/>
              <a:gdLst>
                <a:gd name="T0" fmla="*/ 71 w 95"/>
                <a:gd name="T1" fmla="*/ 107 h 110"/>
                <a:gd name="T2" fmla="*/ 71 w 95"/>
                <a:gd name="T3" fmla="*/ 91 h 110"/>
                <a:gd name="T4" fmla="*/ 70 w 95"/>
                <a:gd name="T5" fmla="*/ 91 h 110"/>
                <a:gd name="T6" fmla="*/ 57 w 95"/>
                <a:gd name="T7" fmla="*/ 105 h 110"/>
                <a:gd name="T8" fmla="*/ 38 w 95"/>
                <a:gd name="T9" fmla="*/ 110 h 110"/>
                <a:gd name="T10" fmla="*/ 10 w 95"/>
                <a:gd name="T11" fmla="*/ 98 h 110"/>
                <a:gd name="T12" fmla="*/ 0 w 95"/>
                <a:gd name="T13" fmla="*/ 65 h 110"/>
                <a:gd name="T14" fmla="*/ 0 w 95"/>
                <a:gd name="T15" fmla="*/ 0 h 110"/>
                <a:gd name="T16" fmla="*/ 24 w 95"/>
                <a:gd name="T17" fmla="*/ 0 h 110"/>
                <a:gd name="T18" fmla="*/ 24 w 95"/>
                <a:gd name="T19" fmla="*/ 62 h 110"/>
                <a:gd name="T20" fmla="*/ 46 w 95"/>
                <a:gd name="T21" fmla="*/ 90 h 110"/>
                <a:gd name="T22" fmla="*/ 64 w 95"/>
                <a:gd name="T23" fmla="*/ 82 h 110"/>
                <a:gd name="T24" fmla="*/ 71 w 95"/>
                <a:gd name="T25" fmla="*/ 62 h 110"/>
                <a:gd name="T26" fmla="*/ 71 w 95"/>
                <a:gd name="T27" fmla="*/ 0 h 110"/>
                <a:gd name="T28" fmla="*/ 95 w 95"/>
                <a:gd name="T29" fmla="*/ 0 h 110"/>
                <a:gd name="T30" fmla="*/ 95 w 95"/>
                <a:gd name="T31" fmla="*/ 107 h 110"/>
                <a:gd name="T32" fmla="*/ 71 w 95"/>
                <a:gd name="T33" fmla="*/ 107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10">
                  <a:moveTo>
                    <a:pt x="71" y="107"/>
                  </a:moveTo>
                  <a:cubicBezTo>
                    <a:pt x="71" y="91"/>
                    <a:pt x="71" y="91"/>
                    <a:pt x="71" y="91"/>
                  </a:cubicBezTo>
                  <a:cubicBezTo>
                    <a:pt x="70" y="91"/>
                    <a:pt x="70" y="91"/>
                    <a:pt x="70" y="91"/>
                  </a:cubicBezTo>
                  <a:cubicBezTo>
                    <a:pt x="67" y="97"/>
                    <a:pt x="62" y="101"/>
                    <a:pt x="57" y="105"/>
                  </a:cubicBezTo>
                  <a:cubicBezTo>
                    <a:pt x="51" y="108"/>
                    <a:pt x="45" y="110"/>
                    <a:pt x="38" y="110"/>
                  </a:cubicBezTo>
                  <a:cubicBezTo>
                    <a:pt x="26" y="110"/>
                    <a:pt x="16" y="106"/>
                    <a:pt x="10" y="98"/>
                  </a:cubicBezTo>
                  <a:cubicBezTo>
                    <a:pt x="3" y="91"/>
                    <a:pt x="0" y="80"/>
                    <a:pt x="0" y="6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4" y="81"/>
                    <a:pt x="32" y="90"/>
                    <a:pt x="46" y="90"/>
                  </a:cubicBezTo>
                  <a:cubicBezTo>
                    <a:pt x="54" y="90"/>
                    <a:pt x="59" y="87"/>
                    <a:pt x="64" y="82"/>
                  </a:cubicBezTo>
                  <a:cubicBezTo>
                    <a:pt x="68" y="77"/>
                    <a:pt x="71" y="70"/>
                    <a:pt x="71" y="62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107"/>
                    <a:pt x="95" y="107"/>
                    <a:pt x="95" y="107"/>
                  </a:cubicBezTo>
                  <a:lnTo>
                    <a:pt x="71" y="107"/>
                  </a:ln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1" name="Freeform 47"/>
            <p:cNvSpPr>
              <a:spLocks/>
            </p:cNvSpPr>
            <p:nvPr userDrawn="1"/>
          </p:nvSpPr>
          <p:spPr bwMode="auto">
            <a:xfrm>
              <a:off x="4379913" y="2122488"/>
              <a:ext cx="100013" cy="176213"/>
            </a:xfrm>
            <a:custGeom>
              <a:avLst/>
              <a:gdLst>
                <a:gd name="T0" fmla="*/ 62 w 62"/>
                <a:gd name="T1" fmla="*/ 26 h 109"/>
                <a:gd name="T2" fmla="*/ 55 w 62"/>
                <a:gd name="T3" fmla="*/ 23 h 109"/>
                <a:gd name="T4" fmla="*/ 48 w 62"/>
                <a:gd name="T5" fmla="*/ 22 h 109"/>
                <a:gd name="T6" fmla="*/ 31 w 62"/>
                <a:gd name="T7" fmla="*/ 31 h 109"/>
                <a:gd name="T8" fmla="*/ 24 w 62"/>
                <a:gd name="T9" fmla="*/ 54 h 109"/>
                <a:gd name="T10" fmla="*/ 24 w 62"/>
                <a:gd name="T11" fmla="*/ 109 h 109"/>
                <a:gd name="T12" fmla="*/ 0 w 62"/>
                <a:gd name="T13" fmla="*/ 109 h 109"/>
                <a:gd name="T14" fmla="*/ 0 w 62"/>
                <a:gd name="T15" fmla="*/ 2 h 109"/>
                <a:gd name="T16" fmla="*/ 24 w 62"/>
                <a:gd name="T17" fmla="*/ 2 h 109"/>
                <a:gd name="T18" fmla="*/ 24 w 62"/>
                <a:gd name="T19" fmla="*/ 23 h 109"/>
                <a:gd name="T20" fmla="*/ 25 w 62"/>
                <a:gd name="T21" fmla="*/ 23 h 109"/>
                <a:gd name="T22" fmla="*/ 35 w 62"/>
                <a:gd name="T23" fmla="*/ 6 h 109"/>
                <a:gd name="T24" fmla="*/ 52 w 62"/>
                <a:gd name="T25" fmla="*/ 0 h 109"/>
                <a:gd name="T26" fmla="*/ 62 w 62"/>
                <a:gd name="T27" fmla="*/ 2 h 109"/>
                <a:gd name="T28" fmla="*/ 62 w 62"/>
                <a:gd name="T29" fmla="*/ 2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2" h="109">
                  <a:moveTo>
                    <a:pt x="62" y="26"/>
                  </a:moveTo>
                  <a:cubicBezTo>
                    <a:pt x="60" y="25"/>
                    <a:pt x="58" y="24"/>
                    <a:pt x="55" y="23"/>
                  </a:cubicBezTo>
                  <a:cubicBezTo>
                    <a:pt x="53" y="22"/>
                    <a:pt x="50" y="22"/>
                    <a:pt x="48" y="22"/>
                  </a:cubicBezTo>
                  <a:cubicBezTo>
                    <a:pt x="41" y="22"/>
                    <a:pt x="35" y="25"/>
                    <a:pt x="31" y="31"/>
                  </a:cubicBezTo>
                  <a:cubicBezTo>
                    <a:pt x="26" y="37"/>
                    <a:pt x="24" y="45"/>
                    <a:pt x="24" y="54"/>
                  </a:cubicBezTo>
                  <a:cubicBezTo>
                    <a:pt x="24" y="109"/>
                    <a:pt x="24" y="109"/>
                    <a:pt x="24" y="10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7" y="16"/>
                    <a:pt x="31" y="10"/>
                    <a:pt x="35" y="6"/>
                  </a:cubicBezTo>
                  <a:cubicBezTo>
                    <a:pt x="40" y="2"/>
                    <a:pt x="46" y="0"/>
                    <a:pt x="52" y="0"/>
                  </a:cubicBezTo>
                  <a:cubicBezTo>
                    <a:pt x="56" y="0"/>
                    <a:pt x="59" y="1"/>
                    <a:pt x="62" y="2"/>
                  </a:cubicBezTo>
                  <a:lnTo>
                    <a:pt x="62" y="26"/>
                  </a:ln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78" name="Group 77"/>
          <p:cNvGrpSpPr/>
          <p:nvPr userDrawn="1"/>
        </p:nvGrpSpPr>
        <p:grpSpPr>
          <a:xfrm>
            <a:off x="1404553" y="2845307"/>
            <a:ext cx="3219971" cy="336207"/>
            <a:chOff x="1500188" y="2508251"/>
            <a:chExt cx="3284538" cy="342900"/>
          </a:xfrm>
        </p:grpSpPr>
        <p:sp>
          <p:nvSpPr>
            <p:cNvPr id="52" name="Freeform 48"/>
            <p:cNvSpPr>
              <a:spLocks noEditPoints="1"/>
            </p:cNvSpPr>
            <p:nvPr userDrawn="1"/>
          </p:nvSpPr>
          <p:spPr bwMode="auto">
            <a:xfrm>
              <a:off x="1500188" y="2527301"/>
              <a:ext cx="268288" cy="317500"/>
            </a:xfrm>
            <a:custGeom>
              <a:avLst/>
              <a:gdLst>
                <a:gd name="T0" fmla="*/ 166 w 166"/>
                <a:gd name="T1" fmla="*/ 96 h 196"/>
                <a:gd name="T2" fmla="*/ 153 w 166"/>
                <a:gd name="T3" fmla="*/ 149 h 196"/>
                <a:gd name="T4" fmla="*/ 115 w 166"/>
                <a:gd name="T5" fmla="*/ 184 h 196"/>
                <a:gd name="T6" fmla="*/ 59 w 166"/>
                <a:gd name="T7" fmla="*/ 196 h 196"/>
                <a:gd name="T8" fmla="*/ 0 w 166"/>
                <a:gd name="T9" fmla="*/ 196 h 196"/>
                <a:gd name="T10" fmla="*/ 0 w 166"/>
                <a:gd name="T11" fmla="*/ 0 h 196"/>
                <a:gd name="T12" fmla="*/ 61 w 166"/>
                <a:gd name="T13" fmla="*/ 0 h 196"/>
                <a:gd name="T14" fmla="*/ 140 w 166"/>
                <a:gd name="T15" fmla="*/ 24 h 196"/>
                <a:gd name="T16" fmla="*/ 166 w 166"/>
                <a:gd name="T17" fmla="*/ 96 h 196"/>
                <a:gd name="T18" fmla="*/ 131 w 166"/>
                <a:gd name="T19" fmla="*/ 96 h 196"/>
                <a:gd name="T20" fmla="*/ 113 w 166"/>
                <a:gd name="T21" fmla="*/ 45 h 196"/>
                <a:gd name="T22" fmla="*/ 59 w 166"/>
                <a:gd name="T23" fmla="*/ 28 h 196"/>
                <a:gd name="T24" fmla="*/ 32 w 166"/>
                <a:gd name="T25" fmla="*/ 28 h 196"/>
                <a:gd name="T26" fmla="*/ 32 w 166"/>
                <a:gd name="T27" fmla="*/ 168 h 196"/>
                <a:gd name="T28" fmla="*/ 59 w 166"/>
                <a:gd name="T29" fmla="*/ 168 h 196"/>
                <a:gd name="T30" fmla="*/ 112 w 166"/>
                <a:gd name="T31" fmla="*/ 149 h 196"/>
                <a:gd name="T32" fmla="*/ 131 w 166"/>
                <a:gd name="T33" fmla="*/ 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6" h="196">
                  <a:moveTo>
                    <a:pt x="166" y="96"/>
                  </a:moveTo>
                  <a:cubicBezTo>
                    <a:pt x="166" y="116"/>
                    <a:pt x="162" y="133"/>
                    <a:pt x="153" y="149"/>
                  </a:cubicBezTo>
                  <a:cubicBezTo>
                    <a:pt x="144" y="164"/>
                    <a:pt x="132" y="176"/>
                    <a:pt x="115" y="184"/>
                  </a:cubicBezTo>
                  <a:cubicBezTo>
                    <a:pt x="99" y="192"/>
                    <a:pt x="80" y="196"/>
                    <a:pt x="59" y="196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96" y="0"/>
                    <a:pt x="122" y="8"/>
                    <a:pt x="140" y="24"/>
                  </a:cubicBezTo>
                  <a:cubicBezTo>
                    <a:pt x="157" y="40"/>
                    <a:pt x="166" y="64"/>
                    <a:pt x="166" y="96"/>
                  </a:cubicBezTo>
                  <a:close/>
                  <a:moveTo>
                    <a:pt x="131" y="96"/>
                  </a:moveTo>
                  <a:cubicBezTo>
                    <a:pt x="131" y="74"/>
                    <a:pt x="125" y="57"/>
                    <a:pt x="113" y="45"/>
                  </a:cubicBezTo>
                  <a:cubicBezTo>
                    <a:pt x="100" y="34"/>
                    <a:pt x="82" y="28"/>
                    <a:pt x="59" y="28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168"/>
                    <a:pt x="32" y="168"/>
                    <a:pt x="32" y="168"/>
                  </a:cubicBezTo>
                  <a:cubicBezTo>
                    <a:pt x="59" y="168"/>
                    <a:pt x="59" y="168"/>
                    <a:pt x="59" y="168"/>
                  </a:cubicBezTo>
                  <a:cubicBezTo>
                    <a:pt x="82" y="168"/>
                    <a:pt x="100" y="162"/>
                    <a:pt x="112" y="149"/>
                  </a:cubicBezTo>
                  <a:cubicBezTo>
                    <a:pt x="125" y="136"/>
                    <a:pt x="131" y="119"/>
                    <a:pt x="131" y="96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3" name="Freeform 49"/>
            <p:cNvSpPr>
              <a:spLocks noEditPoints="1"/>
            </p:cNvSpPr>
            <p:nvPr userDrawn="1"/>
          </p:nvSpPr>
          <p:spPr bwMode="auto">
            <a:xfrm>
              <a:off x="1801813" y="2611438"/>
              <a:ext cx="192088" cy="239713"/>
            </a:xfrm>
            <a:custGeom>
              <a:avLst/>
              <a:gdLst>
                <a:gd name="T0" fmla="*/ 87 w 118"/>
                <a:gd name="T1" fmla="*/ 144 h 148"/>
                <a:gd name="T2" fmla="*/ 87 w 118"/>
                <a:gd name="T3" fmla="*/ 125 h 148"/>
                <a:gd name="T4" fmla="*/ 86 w 118"/>
                <a:gd name="T5" fmla="*/ 125 h 148"/>
                <a:gd name="T6" fmla="*/ 45 w 118"/>
                <a:gd name="T7" fmla="*/ 148 h 148"/>
                <a:gd name="T8" fmla="*/ 12 w 118"/>
                <a:gd name="T9" fmla="*/ 137 h 148"/>
                <a:gd name="T10" fmla="*/ 0 w 118"/>
                <a:gd name="T11" fmla="*/ 106 h 148"/>
                <a:gd name="T12" fmla="*/ 12 w 118"/>
                <a:gd name="T13" fmla="*/ 74 h 148"/>
                <a:gd name="T14" fmla="*/ 46 w 118"/>
                <a:gd name="T15" fmla="*/ 60 h 148"/>
                <a:gd name="T16" fmla="*/ 87 w 118"/>
                <a:gd name="T17" fmla="*/ 54 h 148"/>
                <a:gd name="T18" fmla="*/ 60 w 118"/>
                <a:gd name="T19" fmla="*/ 25 h 148"/>
                <a:gd name="T20" fmla="*/ 35 w 118"/>
                <a:gd name="T21" fmla="*/ 30 h 148"/>
                <a:gd name="T22" fmla="*/ 14 w 118"/>
                <a:gd name="T23" fmla="*/ 41 h 148"/>
                <a:gd name="T24" fmla="*/ 14 w 118"/>
                <a:gd name="T25" fmla="*/ 13 h 148"/>
                <a:gd name="T26" fmla="*/ 36 w 118"/>
                <a:gd name="T27" fmla="*/ 4 h 148"/>
                <a:gd name="T28" fmla="*/ 64 w 118"/>
                <a:gd name="T29" fmla="*/ 0 h 148"/>
                <a:gd name="T30" fmla="*/ 104 w 118"/>
                <a:gd name="T31" fmla="*/ 14 h 148"/>
                <a:gd name="T32" fmla="*/ 118 w 118"/>
                <a:gd name="T33" fmla="*/ 55 h 148"/>
                <a:gd name="T34" fmla="*/ 118 w 118"/>
                <a:gd name="T35" fmla="*/ 144 h 148"/>
                <a:gd name="T36" fmla="*/ 87 w 118"/>
                <a:gd name="T37" fmla="*/ 144 h 148"/>
                <a:gd name="T38" fmla="*/ 31 w 118"/>
                <a:gd name="T39" fmla="*/ 103 h 148"/>
                <a:gd name="T40" fmla="*/ 38 w 118"/>
                <a:gd name="T41" fmla="*/ 117 h 148"/>
                <a:gd name="T42" fmla="*/ 54 w 118"/>
                <a:gd name="T43" fmla="*/ 123 h 148"/>
                <a:gd name="T44" fmla="*/ 78 w 118"/>
                <a:gd name="T45" fmla="*/ 113 h 148"/>
                <a:gd name="T46" fmla="*/ 87 w 118"/>
                <a:gd name="T47" fmla="*/ 89 h 148"/>
                <a:gd name="T48" fmla="*/ 87 w 118"/>
                <a:gd name="T49" fmla="*/ 76 h 148"/>
                <a:gd name="T50" fmla="*/ 57 w 118"/>
                <a:gd name="T51" fmla="*/ 80 h 148"/>
                <a:gd name="T52" fmla="*/ 37 w 118"/>
                <a:gd name="T53" fmla="*/ 87 h 148"/>
                <a:gd name="T54" fmla="*/ 31 w 118"/>
                <a:gd name="T55" fmla="*/ 10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8" h="148">
                  <a:moveTo>
                    <a:pt x="87" y="144"/>
                  </a:moveTo>
                  <a:cubicBezTo>
                    <a:pt x="87" y="125"/>
                    <a:pt x="87" y="125"/>
                    <a:pt x="87" y="125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76" y="140"/>
                    <a:pt x="62" y="148"/>
                    <a:pt x="45" y="148"/>
                  </a:cubicBezTo>
                  <a:cubicBezTo>
                    <a:pt x="31" y="148"/>
                    <a:pt x="20" y="144"/>
                    <a:pt x="12" y="137"/>
                  </a:cubicBezTo>
                  <a:cubicBezTo>
                    <a:pt x="4" y="129"/>
                    <a:pt x="0" y="119"/>
                    <a:pt x="0" y="106"/>
                  </a:cubicBezTo>
                  <a:cubicBezTo>
                    <a:pt x="0" y="93"/>
                    <a:pt x="4" y="82"/>
                    <a:pt x="12" y="74"/>
                  </a:cubicBezTo>
                  <a:cubicBezTo>
                    <a:pt x="19" y="66"/>
                    <a:pt x="31" y="62"/>
                    <a:pt x="46" y="60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35"/>
                    <a:pt x="78" y="25"/>
                    <a:pt x="60" y="25"/>
                  </a:cubicBezTo>
                  <a:cubicBezTo>
                    <a:pt x="52" y="25"/>
                    <a:pt x="43" y="27"/>
                    <a:pt x="35" y="30"/>
                  </a:cubicBezTo>
                  <a:cubicBezTo>
                    <a:pt x="27" y="32"/>
                    <a:pt x="20" y="36"/>
                    <a:pt x="14" y="41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9" y="10"/>
                    <a:pt x="26" y="7"/>
                    <a:pt x="36" y="4"/>
                  </a:cubicBezTo>
                  <a:cubicBezTo>
                    <a:pt x="46" y="2"/>
                    <a:pt x="56" y="0"/>
                    <a:pt x="64" y="0"/>
                  </a:cubicBezTo>
                  <a:cubicBezTo>
                    <a:pt x="82" y="0"/>
                    <a:pt x="95" y="5"/>
                    <a:pt x="104" y="14"/>
                  </a:cubicBezTo>
                  <a:cubicBezTo>
                    <a:pt x="113" y="24"/>
                    <a:pt x="118" y="37"/>
                    <a:pt x="118" y="55"/>
                  </a:cubicBezTo>
                  <a:cubicBezTo>
                    <a:pt x="118" y="144"/>
                    <a:pt x="118" y="144"/>
                    <a:pt x="118" y="144"/>
                  </a:cubicBezTo>
                  <a:lnTo>
                    <a:pt x="87" y="144"/>
                  </a:lnTo>
                  <a:close/>
                  <a:moveTo>
                    <a:pt x="31" y="103"/>
                  </a:moveTo>
                  <a:cubicBezTo>
                    <a:pt x="31" y="109"/>
                    <a:pt x="33" y="114"/>
                    <a:pt x="38" y="117"/>
                  </a:cubicBezTo>
                  <a:cubicBezTo>
                    <a:pt x="42" y="121"/>
                    <a:pt x="48" y="123"/>
                    <a:pt x="54" y="123"/>
                  </a:cubicBezTo>
                  <a:cubicBezTo>
                    <a:pt x="64" y="123"/>
                    <a:pt x="72" y="120"/>
                    <a:pt x="78" y="113"/>
                  </a:cubicBezTo>
                  <a:cubicBezTo>
                    <a:pt x="84" y="107"/>
                    <a:pt x="87" y="99"/>
                    <a:pt x="87" y="89"/>
                  </a:cubicBezTo>
                  <a:cubicBezTo>
                    <a:pt x="87" y="76"/>
                    <a:pt x="87" y="76"/>
                    <a:pt x="87" y="76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47" y="81"/>
                    <a:pt x="40" y="84"/>
                    <a:pt x="37" y="87"/>
                  </a:cubicBezTo>
                  <a:cubicBezTo>
                    <a:pt x="33" y="91"/>
                    <a:pt x="31" y="96"/>
                    <a:pt x="31" y="103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4" name="Freeform 50"/>
            <p:cNvSpPr>
              <a:spLocks/>
            </p:cNvSpPr>
            <p:nvPr userDrawn="1"/>
          </p:nvSpPr>
          <p:spPr bwMode="auto">
            <a:xfrm>
              <a:off x="2019300" y="2549526"/>
              <a:ext cx="144463" cy="301625"/>
            </a:xfrm>
            <a:custGeom>
              <a:avLst/>
              <a:gdLst>
                <a:gd name="T0" fmla="*/ 89 w 89"/>
                <a:gd name="T1" fmla="*/ 181 h 186"/>
                <a:gd name="T2" fmla="*/ 79 w 89"/>
                <a:gd name="T3" fmla="*/ 184 h 186"/>
                <a:gd name="T4" fmla="*/ 64 w 89"/>
                <a:gd name="T5" fmla="*/ 186 h 186"/>
                <a:gd name="T6" fmla="*/ 23 w 89"/>
                <a:gd name="T7" fmla="*/ 141 h 186"/>
                <a:gd name="T8" fmla="*/ 23 w 89"/>
                <a:gd name="T9" fmla="*/ 67 h 186"/>
                <a:gd name="T10" fmla="*/ 0 w 89"/>
                <a:gd name="T11" fmla="*/ 67 h 186"/>
                <a:gd name="T12" fmla="*/ 0 w 89"/>
                <a:gd name="T13" fmla="*/ 42 h 186"/>
                <a:gd name="T14" fmla="*/ 23 w 89"/>
                <a:gd name="T15" fmla="*/ 42 h 186"/>
                <a:gd name="T16" fmla="*/ 23 w 89"/>
                <a:gd name="T17" fmla="*/ 9 h 186"/>
                <a:gd name="T18" fmla="*/ 55 w 89"/>
                <a:gd name="T19" fmla="*/ 0 h 186"/>
                <a:gd name="T20" fmla="*/ 55 w 89"/>
                <a:gd name="T21" fmla="*/ 42 h 186"/>
                <a:gd name="T22" fmla="*/ 89 w 89"/>
                <a:gd name="T23" fmla="*/ 42 h 186"/>
                <a:gd name="T24" fmla="*/ 89 w 89"/>
                <a:gd name="T25" fmla="*/ 67 h 186"/>
                <a:gd name="T26" fmla="*/ 55 w 89"/>
                <a:gd name="T27" fmla="*/ 67 h 186"/>
                <a:gd name="T28" fmla="*/ 55 w 89"/>
                <a:gd name="T29" fmla="*/ 135 h 186"/>
                <a:gd name="T30" fmla="*/ 60 w 89"/>
                <a:gd name="T31" fmla="*/ 154 h 186"/>
                <a:gd name="T32" fmla="*/ 75 w 89"/>
                <a:gd name="T33" fmla="*/ 160 h 186"/>
                <a:gd name="T34" fmla="*/ 82 w 89"/>
                <a:gd name="T35" fmla="*/ 159 h 186"/>
                <a:gd name="T36" fmla="*/ 89 w 89"/>
                <a:gd name="T37" fmla="*/ 156 h 186"/>
                <a:gd name="T38" fmla="*/ 89 w 89"/>
                <a:gd name="T39" fmla="*/ 181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9" h="186">
                  <a:moveTo>
                    <a:pt x="89" y="181"/>
                  </a:moveTo>
                  <a:cubicBezTo>
                    <a:pt x="87" y="182"/>
                    <a:pt x="83" y="183"/>
                    <a:pt x="79" y="184"/>
                  </a:cubicBezTo>
                  <a:cubicBezTo>
                    <a:pt x="74" y="185"/>
                    <a:pt x="69" y="186"/>
                    <a:pt x="64" y="186"/>
                  </a:cubicBezTo>
                  <a:cubicBezTo>
                    <a:pt x="37" y="186"/>
                    <a:pt x="23" y="171"/>
                    <a:pt x="23" y="141"/>
                  </a:cubicBezTo>
                  <a:cubicBezTo>
                    <a:pt x="23" y="67"/>
                    <a:pt x="23" y="67"/>
                    <a:pt x="23" y="6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89" y="42"/>
                    <a:pt x="89" y="42"/>
                    <a:pt x="89" y="42"/>
                  </a:cubicBezTo>
                  <a:cubicBezTo>
                    <a:pt x="89" y="67"/>
                    <a:pt x="89" y="67"/>
                    <a:pt x="89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55" y="135"/>
                    <a:pt x="55" y="135"/>
                    <a:pt x="55" y="135"/>
                  </a:cubicBezTo>
                  <a:cubicBezTo>
                    <a:pt x="55" y="144"/>
                    <a:pt x="56" y="151"/>
                    <a:pt x="60" y="154"/>
                  </a:cubicBezTo>
                  <a:cubicBezTo>
                    <a:pt x="63" y="158"/>
                    <a:pt x="68" y="160"/>
                    <a:pt x="75" y="160"/>
                  </a:cubicBezTo>
                  <a:cubicBezTo>
                    <a:pt x="77" y="160"/>
                    <a:pt x="79" y="160"/>
                    <a:pt x="82" y="159"/>
                  </a:cubicBezTo>
                  <a:cubicBezTo>
                    <a:pt x="85" y="158"/>
                    <a:pt x="87" y="157"/>
                    <a:pt x="89" y="156"/>
                  </a:cubicBezTo>
                  <a:lnTo>
                    <a:pt x="89" y="181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5" name="Freeform 51"/>
            <p:cNvSpPr>
              <a:spLocks noEditPoints="1"/>
            </p:cNvSpPr>
            <p:nvPr userDrawn="1"/>
          </p:nvSpPr>
          <p:spPr bwMode="auto">
            <a:xfrm>
              <a:off x="2190750" y="2611438"/>
              <a:ext cx="190500" cy="239713"/>
            </a:xfrm>
            <a:custGeom>
              <a:avLst/>
              <a:gdLst>
                <a:gd name="T0" fmla="*/ 87 w 118"/>
                <a:gd name="T1" fmla="*/ 144 h 148"/>
                <a:gd name="T2" fmla="*/ 87 w 118"/>
                <a:gd name="T3" fmla="*/ 125 h 148"/>
                <a:gd name="T4" fmla="*/ 86 w 118"/>
                <a:gd name="T5" fmla="*/ 125 h 148"/>
                <a:gd name="T6" fmla="*/ 44 w 118"/>
                <a:gd name="T7" fmla="*/ 148 h 148"/>
                <a:gd name="T8" fmla="*/ 12 w 118"/>
                <a:gd name="T9" fmla="*/ 137 h 148"/>
                <a:gd name="T10" fmla="*/ 0 w 118"/>
                <a:gd name="T11" fmla="*/ 106 h 148"/>
                <a:gd name="T12" fmla="*/ 11 w 118"/>
                <a:gd name="T13" fmla="*/ 74 h 148"/>
                <a:gd name="T14" fmla="*/ 46 w 118"/>
                <a:gd name="T15" fmla="*/ 60 h 148"/>
                <a:gd name="T16" fmla="*/ 87 w 118"/>
                <a:gd name="T17" fmla="*/ 54 h 148"/>
                <a:gd name="T18" fmla="*/ 60 w 118"/>
                <a:gd name="T19" fmla="*/ 25 h 148"/>
                <a:gd name="T20" fmla="*/ 35 w 118"/>
                <a:gd name="T21" fmla="*/ 30 h 148"/>
                <a:gd name="T22" fmla="*/ 14 w 118"/>
                <a:gd name="T23" fmla="*/ 41 h 148"/>
                <a:gd name="T24" fmla="*/ 14 w 118"/>
                <a:gd name="T25" fmla="*/ 13 h 148"/>
                <a:gd name="T26" fmla="*/ 36 w 118"/>
                <a:gd name="T27" fmla="*/ 4 h 148"/>
                <a:gd name="T28" fmla="*/ 64 w 118"/>
                <a:gd name="T29" fmla="*/ 0 h 148"/>
                <a:gd name="T30" fmla="*/ 104 w 118"/>
                <a:gd name="T31" fmla="*/ 14 h 148"/>
                <a:gd name="T32" fmla="*/ 118 w 118"/>
                <a:gd name="T33" fmla="*/ 55 h 148"/>
                <a:gd name="T34" fmla="*/ 118 w 118"/>
                <a:gd name="T35" fmla="*/ 144 h 148"/>
                <a:gd name="T36" fmla="*/ 87 w 118"/>
                <a:gd name="T37" fmla="*/ 144 h 148"/>
                <a:gd name="T38" fmla="*/ 31 w 118"/>
                <a:gd name="T39" fmla="*/ 103 h 148"/>
                <a:gd name="T40" fmla="*/ 38 w 118"/>
                <a:gd name="T41" fmla="*/ 117 h 148"/>
                <a:gd name="T42" fmla="*/ 54 w 118"/>
                <a:gd name="T43" fmla="*/ 123 h 148"/>
                <a:gd name="T44" fmla="*/ 78 w 118"/>
                <a:gd name="T45" fmla="*/ 113 h 148"/>
                <a:gd name="T46" fmla="*/ 87 w 118"/>
                <a:gd name="T47" fmla="*/ 89 h 148"/>
                <a:gd name="T48" fmla="*/ 87 w 118"/>
                <a:gd name="T49" fmla="*/ 76 h 148"/>
                <a:gd name="T50" fmla="*/ 57 w 118"/>
                <a:gd name="T51" fmla="*/ 80 h 148"/>
                <a:gd name="T52" fmla="*/ 37 w 118"/>
                <a:gd name="T53" fmla="*/ 87 h 148"/>
                <a:gd name="T54" fmla="*/ 31 w 118"/>
                <a:gd name="T55" fmla="*/ 10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8" h="148">
                  <a:moveTo>
                    <a:pt x="87" y="144"/>
                  </a:moveTo>
                  <a:cubicBezTo>
                    <a:pt x="87" y="125"/>
                    <a:pt x="87" y="125"/>
                    <a:pt x="87" y="125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76" y="140"/>
                    <a:pt x="62" y="148"/>
                    <a:pt x="44" y="148"/>
                  </a:cubicBezTo>
                  <a:cubicBezTo>
                    <a:pt x="31" y="148"/>
                    <a:pt x="20" y="144"/>
                    <a:pt x="12" y="137"/>
                  </a:cubicBezTo>
                  <a:cubicBezTo>
                    <a:pt x="4" y="129"/>
                    <a:pt x="0" y="119"/>
                    <a:pt x="0" y="106"/>
                  </a:cubicBezTo>
                  <a:cubicBezTo>
                    <a:pt x="0" y="93"/>
                    <a:pt x="4" y="82"/>
                    <a:pt x="11" y="74"/>
                  </a:cubicBezTo>
                  <a:cubicBezTo>
                    <a:pt x="19" y="66"/>
                    <a:pt x="31" y="62"/>
                    <a:pt x="46" y="60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35"/>
                    <a:pt x="78" y="25"/>
                    <a:pt x="60" y="25"/>
                  </a:cubicBezTo>
                  <a:cubicBezTo>
                    <a:pt x="52" y="25"/>
                    <a:pt x="43" y="27"/>
                    <a:pt x="35" y="30"/>
                  </a:cubicBezTo>
                  <a:cubicBezTo>
                    <a:pt x="27" y="32"/>
                    <a:pt x="20" y="36"/>
                    <a:pt x="14" y="41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9" y="10"/>
                    <a:pt x="26" y="7"/>
                    <a:pt x="36" y="4"/>
                  </a:cubicBezTo>
                  <a:cubicBezTo>
                    <a:pt x="46" y="2"/>
                    <a:pt x="55" y="0"/>
                    <a:pt x="64" y="0"/>
                  </a:cubicBezTo>
                  <a:cubicBezTo>
                    <a:pt x="82" y="0"/>
                    <a:pt x="95" y="5"/>
                    <a:pt x="104" y="14"/>
                  </a:cubicBezTo>
                  <a:cubicBezTo>
                    <a:pt x="113" y="24"/>
                    <a:pt x="118" y="37"/>
                    <a:pt x="118" y="55"/>
                  </a:cubicBezTo>
                  <a:cubicBezTo>
                    <a:pt x="118" y="144"/>
                    <a:pt x="118" y="144"/>
                    <a:pt x="118" y="144"/>
                  </a:cubicBezTo>
                  <a:lnTo>
                    <a:pt x="87" y="144"/>
                  </a:lnTo>
                  <a:close/>
                  <a:moveTo>
                    <a:pt x="31" y="103"/>
                  </a:moveTo>
                  <a:cubicBezTo>
                    <a:pt x="31" y="109"/>
                    <a:pt x="33" y="114"/>
                    <a:pt x="38" y="117"/>
                  </a:cubicBezTo>
                  <a:cubicBezTo>
                    <a:pt x="42" y="121"/>
                    <a:pt x="48" y="123"/>
                    <a:pt x="54" y="123"/>
                  </a:cubicBezTo>
                  <a:cubicBezTo>
                    <a:pt x="64" y="123"/>
                    <a:pt x="72" y="120"/>
                    <a:pt x="78" y="113"/>
                  </a:cubicBezTo>
                  <a:cubicBezTo>
                    <a:pt x="84" y="107"/>
                    <a:pt x="87" y="99"/>
                    <a:pt x="87" y="89"/>
                  </a:cubicBezTo>
                  <a:cubicBezTo>
                    <a:pt x="87" y="76"/>
                    <a:pt x="87" y="76"/>
                    <a:pt x="87" y="76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47" y="81"/>
                    <a:pt x="40" y="84"/>
                    <a:pt x="37" y="87"/>
                  </a:cubicBezTo>
                  <a:cubicBezTo>
                    <a:pt x="33" y="91"/>
                    <a:pt x="31" y="96"/>
                    <a:pt x="31" y="103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6" name="Freeform 52"/>
            <p:cNvSpPr>
              <a:spLocks/>
            </p:cNvSpPr>
            <p:nvPr userDrawn="1"/>
          </p:nvSpPr>
          <p:spPr bwMode="auto">
            <a:xfrm>
              <a:off x="2514600" y="2527301"/>
              <a:ext cx="436563" cy="317500"/>
            </a:xfrm>
            <a:custGeom>
              <a:avLst/>
              <a:gdLst>
                <a:gd name="T0" fmla="*/ 215 w 269"/>
                <a:gd name="T1" fmla="*/ 196 h 196"/>
                <a:gd name="T2" fmla="*/ 176 w 269"/>
                <a:gd name="T3" fmla="*/ 196 h 196"/>
                <a:gd name="T4" fmla="*/ 139 w 269"/>
                <a:gd name="T5" fmla="*/ 59 h 196"/>
                <a:gd name="T6" fmla="*/ 136 w 269"/>
                <a:gd name="T7" fmla="*/ 38 h 196"/>
                <a:gd name="T8" fmla="*/ 135 w 269"/>
                <a:gd name="T9" fmla="*/ 38 h 196"/>
                <a:gd name="T10" fmla="*/ 134 w 269"/>
                <a:gd name="T11" fmla="*/ 50 h 196"/>
                <a:gd name="T12" fmla="*/ 132 w 269"/>
                <a:gd name="T13" fmla="*/ 59 h 196"/>
                <a:gd name="T14" fmla="*/ 95 w 269"/>
                <a:gd name="T15" fmla="*/ 196 h 196"/>
                <a:gd name="T16" fmla="*/ 56 w 269"/>
                <a:gd name="T17" fmla="*/ 196 h 196"/>
                <a:gd name="T18" fmla="*/ 0 w 269"/>
                <a:gd name="T19" fmla="*/ 0 h 196"/>
                <a:gd name="T20" fmla="*/ 36 w 269"/>
                <a:gd name="T21" fmla="*/ 0 h 196"/>
                <a:gd name="T22" fmla="*/ 73 w 269"/>
                <a:gd name="T23" fmla="*/ 142 h 196"/>
                <a:gd name="T24" fmla="*/ 76 w 269"/>
                <a:gd name="T25" fmla="*/ 164 h 196"/>
                <a:gd name="T26" fmla="*/ 76 w 269"/>
                <a:gd name="T27" fmla="*/ 164 h 196"/>
                <a:gd name="T28" fmla="*/ 80 w 269"/>
                <a:gd name="T29" fmla="*/ 142 h 196"/>
                <a:gd name="T30" fmla="*/ 120 w 269"/>
                <a:gd name="T31" fmla="*/ 0 h 196"/>
                <a:gd name="T32" fmla="*/ 155 w 269"/>
                <a:gd name="T33" fmla="*/ 0 h 196"/>
                <a:gd name="T34" fmla="*/ 192 w 269"/>
                <a:gd name="T35" fmla="*/ 144 h 196"/>
                <a:gd name="T36" fmla="*/ 195 w 269"/>
                <a:gd name="T37" fmla="*/ 163 h 196"/>
                <a:gd name="T38" fmla="*/ 196 w 269"/>
                <a:gd name="T39" fmla="*/ 163 h 196"/>
                <a:gd name="T40" fmla="*/ 199 w 269"/>
                <a:gd name="T41" fmla="*/ 143 h 196"/>
                <a:gd name="T42" fmla="*/ 234 w 269"/>
                <a:gd name="T43" fmla="*/ 0 h 196"/>
                <a:gd name="T44" fmla="*/ 269 w 269"/>
                <a:gd name="T45" fmla="*/ 0 h 196"/>
                <a:gd name="T46" fmla="*/ 215 w 269"/>
                <a:gd name="T47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9" h="196">
                  <a:moveTo>
                    <a:pt x="215" y="196"/>
                  </a:moveTo>
                  <a:cubicBezTo>
                    <a:pt x="176" y="196"/>
                    <a:pt x="176" y="196"/>
                    <a:pt x="176" y="196"/>
                  </a:cubicBezTo>
                  <a:cubicBezTo>
                    <a:pt x="139" y="59"/>
                    <a:pt x="139" y="59"/>
                    <a:pt x="139" y="59"/>
                  </a:cubicBezTo>
                  <a:cubicBezTo>
                    <a:pt x="137" y="53"/>
                    <a:pt x="136" y="46"/>
                    <a:pt x="136" y="38"/>
                  </a:cubicBezTo>
                  <a:cubicBezTo>
                    <a:pt x="135" y="38"/>
                    <a:pt x="135" y="38"/>
                    <a:pt x="135" y="38"/>
                  </a:cubicBezTo>
                  <a:cubicBezTo>
                    <a:pt x="135" y="42"/>
                    <a:pt x="134" y="45"/>
                    <a:pt x="134" y="50"/>
                  </a:cubicBezTo>
                  <a:cubicBezTo>
                    <a:pt x="133" y="55"/>
                    <a:pt x="132" y="58"/>
                    <a:pt x="132" y="59"/>
                  </a:cubicBezTo>
                  <a:cubicBezTo>
                    <a:pt x="95" y="196"/>
                    <a:pt x="95" y="196"/>
                    <a:pt x="95" y="196"/>
                  </a:cubicBezTo>
                  <a:cubicBezTo>
                    <a:pt x="56" y="196"/>
                    <a:pt x="56" y="196"/>
                    <a:pt x="56" y="19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73" y="142"/>
                    <a:pt x="73" y="142"/>
                    <a:pt x="73" y="142"/>
                  </a:cubicBezTo>
                  <a:cubicBezTo>
                    <a:pt x="74" y="146"/>
                    <a:pt x="75" y="153"/>
                    <a:pt x="76" y="164"/>
                  </a:cubicBezTo>
                  <a:cubicBezTo>
                    <a:pt x="76" y="164"/>
                    <a:pt x="76" y="164"/>
                    <a:pt x="76" y="164"/>
                  </a:cubicBezTo>
                  <a:cubicBezTo>
                    <a:pt x="77" y="158"/>
                    <a:pt x="78" y="151"/>
                    <a:pt x="80" y="142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92" y="144"/>
                    <a:pt x="192" y="144"/>
                    <a:pt x="192" y="144"/>
                  </a:cubicBezTo>
                  <a:cubicBezTo>
                    <a:pt x="194" y="148"/>
                    <a:pt x="195" y="155"/>
                    <a:pt x="195" y="163"/>
                  </a:cubicBezTo>
                  <a:cubicBezTo>
                    <a:pt x="196" y="163"/>
                    <a:pt x="196" y="163"/>
                    <a:pt x="196" y="163"/>
                  </a:cubicBezTo>
                  <a:cubicBezTo>
                    <a:pt x="196" y="157"/>
                    <a:pt x="197" y="150"/>
                    <a:pt x="199" y="143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69" y="0"/>
                    <a:pt x="269" y="0"/>
                    <a:pt x="269" y="0"/>
                  </a:cubicBezTo>
                  <a:lnTo>
                    <a:pt x="215" y="196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7" name="Freeform 53"/>
            <p:cNvSpPr>
              <a:spLocks noEditPoints="1"/>
            </p:cNvSpPr>
            <p:nvPr userDrawn="1"/>
          </p:nvSpPr>
          <p:spPr bwMode="auto">
            <a:xfrm>
              <a:off x="2955925" y="2611438"/>
              <a:ext cx="190500" cy="239713"/>
            </a:xfrm>
            <a:custGeom>
              <a:avLst/>
              <a:gdLst>
                <a:gd name="T0" fmla="*/ 87 w 118"/>
                <a:gd name="T1" fmla="*/ 144 h 148"/>
                <a:gd name="T2" fmla="*/ 87 w 118"/>
                <a:gd name="T3" fmla="*/ 125 h 148"/>
                <a:gd name="T4" fmla="*/ 86 w 118"/>
                <a:gd name="T5" fmla="*/ 125 h 148"/>
                <a:gd name="T6" fmla="*/ 44 w 118"/>
                <a:gd name="T7" fmla="*/ 148 h 148"/>
                <a:gd name="T8" fmla="*/ 12 w 118"/>
                <a:gd name="T9" fmla="*/ 137 h 148"/>
                <a:gd name="T10" fmla="*/ 0 w 118"/>
                <a:gd name="T11" fmla="*/ 106 h 148"/>
                <a:gd name="T12" fmla="*/ 11 w 118"/>
                <a:gd name="T13" fmla="*/ 74 h 148"/>
                <a:gd name="T14" fmla="*/ 46 w 118"/>
                <a:gd name="T15" fmla="*/ 60 h 148"/>
                <a:gd name="T16" fmla="*/ 87 w 118"/>
                <a:gd name="T17" fmla="*/ 54 h 148"/>
                <a:gd name="T18" fmla="*/ 60 w 118"/>
                <a:gd name="T19" fmla="*/ 25 h 148"/>
                <a:gd name="T20" fmla="*/ 35 w 118"/>
                <a:gd name="T21" fmla="*/ 30 h 148"/>
                <a:gd name="T22" fmla="*/ 13 w 118"/>
                <a:gd name="T23" fmla="*/ 41 h 148"/>
                <a:gd name="T24" fmla="*/ 13 w 118"/>
                <a:gd name="T25" fmla="*/ 13 h 148"/>
                <a:gd name="T26" fmla="*/ 36 w 118"/>
                <a:gd name="T27" fmla="*/ 4 h 148"/>
                <a:gd name="T28" fmla="*/ 63 w 118"/>
                <a:gd name="T29" fmla="*/ 0 h 148"/>
                <a:gd name="T30" fmla="*/ 104 w 118"/>
                <a:gd name="T31" fmla="*/ 14 h 148"/>
                <a:gd name="T32" fmla="*/ 118 w 118"/>
                <a:gd name="T33" fmla="*/ 55 h 148"/>
                <a:gd name="T34" fmla="*/ 118 w 118"/>
                <a:gd name="T35" fmla="*/ 144 h 148"/>
                <a:gd name="T36" fmla="*/ 87 w 118"/>
                <a:gd name="T37" fmla="*/ 144 h 148"/>
                <a:gd name="T38" fmla="*/ 31 w 118"/>
                <a:gd name="T39" fmla="*/ 103 h 148"/>
                <a:gd name="T40" fmla="*/ 38 w 118"/>
                <a:gd name="T41" fmla="*/ 117 h 148"/>
                <a:gd name="T42" fmla="*/ 54 w 118"/>
                <a:gd name="T43" fmla="*/ 123 h 148"/>
                <a:gd name="T44" fmla="*/ 78 w 118"/>
                <a:gd name="T45" fmla="*/ 113 h 148"/>
                <a:gd name="T46" fmla="*/ 87 w 118"/>
                <a:gd name="T47" fmla="*/ 89 h 148"/>
                <a:gd name="T48" fmla="*/ 87 w 118"/>
                <a:gd name="T49" fmla="*/ 76 h 148"/>
                <a:gd name="T50" fmla="*/ 56 w 118"/>
                <a:gd name="T51" fmla="*/ 80 h 148"/>
                <a:gd name="T52" fmla="*/ 36 w 118"/>
                <a:gd name="T53" fmla="*/ 87 h 148"/>
                <a:gd name="T54" fmla="*/ 31 w 118"/>
                <a:gd name="T55" fmla="*/ 10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8" h="148">
                  <a:moveTo>
                    <a:pt x="87" y="144"/>
                  </a:moveTo>
                  <a:cubicBezTo>
                    <a:pt x="87" y="125"/>
                    <a:pt x="87" y="125"/>
                    <a:pt x="87" y="125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76" y="140"/>
                    <a:pt x="62" y="148"/>
                    <a:pt x="44" y="148"/>
                  </a:cubicBezTo>
                  <a:cubicBezTo>
                    <a:pt x="31" y="148"/>
                    <a:pt x="20" y="144"/>
                    <a:pt x="12" y="137"/>
                  </a:cubicBezTo>
                  <a:cubicBezTo>
                    <a:pt x="4" y="129"/>
                    <a:pt x="0" y="119"/>
                    <a:pt x="0" y="106"/>
                  </a:cubicBezTo>
                  <a:cubicBezTo>
                    <a:pt x="0" y="93"/>
                    <a:pt x="4" y="82"/>
                    <a:pt x="11" y="74"/>
                  </a:cubicBezTo>
                  <a:cubicBezTo>
                    <a:pt x="19" y="66"/>
                    <a:pt x="31" y="62"/>
                    <a:pt x="46" y="60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35"/>
                    <a:pt x="78" y="25"/>
                    <a:pt x="60" y="25"/>
                  </a:cubicBezTo>
                  <a:cubicBezTo>
                    <a:pt x="52" y="25"/>
                    <a:pt x="43" y="27"/>
                    <a:pt x="35" y="30"/>
                  </a:cubicBezTo>
                  <a:cubicBezTo>
                    <a:pt x="27" y="32"/>
                    <a:pt x="20" y="36"/>
                    <a:pt x="13" y="41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9" y="10"/>
                    <a:pt x="26" y="7"/>
                    <a:pt x="36" y="4"/>
                  </a:cubicBezTo>
                  <a:cubicBezTo>
                    <a:pt x="46" y="2"/>
                    <a:pt x="55" y="0"/>
                    <a:pt x="63" y="0"/>
                  </a:cubicBezTo>
                  <a:cubicBezTo>
                    <a:pt x="82" y="0"/>
                    <a:pt x="95" y="5"/>
                    <a:pt x="104" y="14"/>
                  </a:cubicBezTo>
                  <a:cubicBezTo>
                    <a:pt x="113" y="24"/>
                    <a:pt x="118" y="37"/>
                    <a:pt x="118" y="55"/>
                  </a:cubicBezTo>
                  <a:cubicBezTo>
                    <a:pt x="118" y="144"/>
                    <a:pt x="118" y="144"/>
                    <a:pt x="118" y="144"/>
                  </a:cubicBezTo>
                  <a:lnTo>
                    <a:pt x="87" y="144"/>
                  </a:lnTo>
                  <a:close/>
                  <a:moveTo>
                    <a:pt x="31" y="103"/>
                  </a:moveTo>
                  <a:cubicBezTo>
                    <a:pt x="31" y="109"/>
                    <a:pt x="33" y="114"/>
                    <a:pt x="38" y="117"/>
                  </a:cubicBezTo>
                  <a:cubicBezTo>
                    <a:pt x="42" y="121"/>
                    <a:pt x="47" y="123"/>
                    <a:pt x="54" y="123"/>
                  </a:cubicBezTo>
                  <a:cubicBezTo>
                    <a:pt x="64" y="123"/>
                    <a:pt x="71" y="120"/>
                    <a:pt x="78" y="113"/>
                  </a:cubicBezTo>
                  <a:cubicBezTo>
                    <a:pt x="84" y="107"/>
                    <a:pt x="87" y="99"/>
                    <a:pt x="87" y="89"/>
                  </a:cubicBezTo>
                  <a:cubicBezTo>
                    <a:pt x="87" y="76"/>
                    <a:pt x="87" y="76"/>
                    <a:pt x="87" y="76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47" y="81"/>
                    <a:pt x="40" y="84"/>
                    <a:pt x="36" y="87"/>
                  </a:cubicBezTo>
                  <a:cubicBezTo>
                    <a:pt x="33" y="91"/>
                    <a:pt x="31" y="96"/>
                    <a:pt x="31" y="103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8" name="Freeform 54"/>
            <p:cNvSpPr>
              <a:spLocks/>
            </p:cNvSpPr>
            <p:nvPr userDrawn="1"/>
          </p:nvSpPr>
          <p:spPr bwMode="auto">
            <a:xfrm>
              <a:off x="3205163" y="2613026"/>
              <a:ext cx="130175" cy="231775"/>
            </a:xfrm>
            <a:custGeom>
              <a:avLst/>
              <a:gdLst>
                <a:gd name="T0" fmla="*/ 81 w 81"/>
                <a:gd name="T1" fmla="*/ 34 h 143"/>
                <a:gd name="T2" fmla="*/ 73 w 81"/>
                <a:gd name="T3" fmla="*/ 30 h 143"/>
                <a:gd name="T4" fmla="*/ 63 w 81"/>
                <a:gd name="T5" fmla="*/ 29 h 143"/>
                <a:gd name="T6" fmla="*/ 40 w 81"/>
                <a:gd name="T7" fmla="*/ 41 h 143"/>
                <a:gd name="T8" fmla="*/ 32 w 81"/>
                <a:gd name="T9" fmla="*/ 72 h 143"/>
                <a:gd name="T10" fmla="*/ 32 w 81"/>
                <a:gd name="T11" fmla="*/ 143 h 143"/>
                <a:gd name="T12" fmla="*/ 0 w 81"/>
                <a:gd name="T13" fmla="*/ 143 h 143"/>
                <a:gd name="T14" fmla="*/ 0 w 81"/>
                <a:gd name="T15" fmla="*/ 3 h 143"/>
                <a:gd name="T16" fmla="*/ 32 w 81"/>
                <a:gd name="T17" fmla="*/ 3 h 143"/>
                <a:gd name="T18" fmla="*/ 32 w 81"/>
                <a:gd name="T19" fmla="*/ 30 h 143"/>
                <a:gd name="T20" fmla="*/ 32 w 81"/>
                <a:gd name="T21" fmla="*/ 30 h 143"/>
                <a:gd name="T22" fmla="*/ 47 w 81"/>
                <a:gd name="T23" fmla="*/ 8 h 143"/>
                <a:gd name="T24" fmla="*/ 68 w 81"/>
                <a:gd name="T25" fmla="*/ 0 h 143"/>
                <a:gd name="T26" fmla="*/ 81 w 81"/>
                <a:gd name="T27" fmla="*/ 2 h 143"/>
                <a:gd name="T28" fmla="*/ 81 w 81"/>
                <a:gd name="T29" fmla="*/ 3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1" h="143">
                  <a:moveTo>
                    <a:pt x="81" y="34"/>
                  </a:moveTo>
                  <a:cubicBezTo>
                    <a:pt x="79" y="33"/>
                    <a:pt x="77" y="31"/>
                    <a:pt x="73" y="30"/>
                  </a:cubicBezTo>
                  <a:cubicBezTo>
                    <a:pt x="69" y="29"/>
                    <a:pt x="66" y="29"/>
                    <a:pt x="63" y="29"/>
                  </a:cubicBezTo>
                  <a:cubicBezTo>
                    <a:pt x="53" y="29"/>
                    <a:pt x="46" y="33"/>
                    <a:pt x="40" y="41"/>
                  </a:cubicBezTo>
                  <a:cubicBezTo>
                    <a:pt x="35" y="49"/>
                    <a:pt x="32" y="59"/>
                    <a:pt x="32" y="72"/>
                  </a:cubicBezTo>
                  <a:cubicBezTo>
                    <a:pt x="32" y="143"/>
                    <a:pt x="32" y="143"/>
                    <a:pt x="32" y="143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5" y="21"/>
                    <a:pt x="40" y="13"/>
                    <a:pt x="47" y="8"/>
                  </a:cubicBezTo>
                  <a:cubicBezTo>
                    <a:pt x="53" y="3"/>
                    <a:pt x="60" y="0"/>
                    <a:pt x="68" y="0"/>
                  </a:cubicBezTo>
                  <a:cubicBezTo>
                    <a:pt x="74" y="0"/>
                    <a:pt x="78" y="1"/>
                    <a:pt x="81" y="2"/>
                  </a:cubicBezTo>
                  <a:lnTo>
                    <a:pt x="81" y="34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9" name="Freeform 55"/>
            <p:cNvSpPr>
              <a:spLocks noEditPoints="1"/>
            </p:cNvSpPr>
            <p:nvPr userDrawn="1"/>
          </p:nvSpPr>
          <p:spPr bwMode="auto">
            <a:xfrm>
              <a:off x="3348038" y="2611438"/>
              <a:ext cx="207963" cy="239713"/>
            </a:xfrm>
            <a:custGeom>
              <a:avLst/>
              <a:gdLst>
                <a:gd name="T0" fmla="*/ 32 w 128"/>
                <a:gd name="T1" fmla="*/ 83 h 148"/>
                <a:gd name="T2" fmla="*/ 44 w 128"/>
                <a:gd name="T3" fmla="*/ 113 h 148"/>
                <a:gd name="T4" fmla="*/ 75 w 128"/>
                <a:gd name="T5" fmla="*/ 123 h 148"/>
                <a:gd name="T6" fmla="*/ 97 w 128"/>
                <a:gd name="T7" fmla="*/ 119 h 148"/>
                <a:gd name="T8" fmla="*/ 117 w 128"/>
                <a:gd name="T9" fmla="*/ 109 h 148"/>
                <a:gd name="T10" fmla="*/ 117 w 128"/>
                <a:gd name="T11" fmla="*/ 136 h 148"/>
                <a:gd name="T12" fmla="*/ 95 w 128"/>
                <a:gd name="T13" fmla="*/ 145 h 148"/>
                <a:gd name="T14" fmla="*/ 67 w 128"/>
                <a:gd name="T15" fmla="*/ 148 h 148"/>
                <a:gd name="T16" fmla="*/ 17 w 128"/>
                <a:gd name="T17" fmla="*/ 129 h 148"/>
                <a:gd name="T18" fmla="*/ 0 w 128"/>
                <a:gd name="T19" fmla="*/ 76 h 148"/>
                <a:gd name="T20" fmla="*/ 8 w 128"/>
                <a:gd name="T21" fmla="*/ 36 h 148"/>
                <a:gd name="T22" fmla="*/ 33 w 128"/>
                <a:gd name="T23" fmla="*/ 10 h 148"/>
                <a:gd name="T24" fmla="*/ 67 w 128"/>
                <a:gd name="T25" fmla="*/ 0 h 148"/>
                <a:gd name="T26" fmla="*/ 112 w 128"/>
                <a:gd name="T27" fmla="*/ 18 h 148"/>
                <a:gd name="T28" fmla="*/ 128 w 128"/>
                <a:gd name="T29" fmla="*/ 68 h 148"/>
                <a:gd name="T30" fmla="*/ 128 w 128"/>
                <a:gd name="T31" fmla="*/ 83 h 148"/>
                <a:gd name="T32" fmla="*/ 32 w 128"/>
                <a:gd name="T33" fmla="*/ 83 h 148"/>
                <a:gd name="T34" fmla="*/ 96 w 128"/>
                <a:gd name="T35" fmla="*/ 60 h 148"/>
                <a:gd name="T36" fmla="*/ 89 w 128"/>
                <a:gd name="T37" fmla="*/ 34 h 148"/>
                <a:gd name="T38" fmla="*/ 67 w 128"/>
                <a:gd name="T39" fmla="*/ 25 h 148"/>
                <a:gd name="T40" fmla="*/ 44 w 128"/>
                <a:gd name="T41" fmla="*/ 35 h 148"/>
                <a:gd name="T42" fmla="*/ 32 w 128"/>
                <a:gd name="T43" fmla="*/ 60 h 148"/>
                <a:gd name="T44" fmla="*/ 96 w 128"/>
                <a:gd name="T45" fmla="*/ 6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8" h="148">
                  <a:moveTo>
                    <a:pt x="32" y="83"/>
                  </a:moveTo>
                  <a:cubicBezTo>
                    <a:pt x="33" y="96"/>
                    <a:pt x="37" y="106"/>
                    <a:pt x="44" y="113"/>
                  </a:cubicBezTo>
                  <a:cubicBezTo>
                    <a:pt x="51" y="119"/>
                    <a:pt x="61" y="123"/>
                    <a:pt x="75" y="123"/>
                  </a:cubicBezTo>
                  <a:cubicBezTo>
                    <a:pt x="82" y="123"/>
                    <a:pt x="90" y="122"/>
                    <a:pt x="97" y="119"/>
                  </a:cubicBezTo>
                  <a:cubicBezTo>
                    <a:pt x="105" y="116"/>
                    <a:pt x="111" y="113"/>
                    <a:pt x="117" y="109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1" y="140"/>
                    <a:pt x="104" y="142"/>
                    <a:pt x="95" y="145"/>
                  </a:cubicBezTo>
                  <a:cubicBezTo>
                    <a:pt x="86" y="147"/>
                    <a:pt x="77" y="148"/>
                    <a:pt x="67" y="148"/>
                  </a:cubicBezTo>
                  <a:cubicBezTo>
                    <a:pt x="45" y="148"/>
                    <a:pt x="29" y="142"/>
                    <a:pt x="17" y="129"/>
                  </a:cubicBezTo>
                  <a:cubicBezTo>
                    <a:pt x="6" y="116"/>
                    <a:pt x="0" y="98"/>
                    <a:pt x="0" y="76"/>
                  </a:cubicBezTo>
                  <a:cubicBezTo>
                    <a:pt x="0" y="61"/>
                    <a:pt x="3" y="47"/>
                    <a:pt x="8" y="36"/>
                  </a:cubicBezTo>
                  <a:cubicBezTo>
                    <a:pt x="14" y="25"/>
                    <a:pt x="22" y="16"/>
                    <a:pt x="33" y="10"/>
                  </a:cubicBezTo>
                  <a:cubicBezTo>
                    <a:pt x="43" y="4"/>
                    <a:pt x="54" y="0"/>
                    <a:pt x="67" y="0"/>
                  </a:cubicBezTo>
                  <a:cubicBezTo>
                    <a:pt x="86" y="0"/>
                    <a:pt x="101" y="6"/>
                    <a:pt x="112" y="18"/>
                  </a:cubicBezTo>
                  <a:cubicBezTo>
                    <a:pt x="123" y="30"/>
                    <a:pt x="128" y="47"/>
                    <a:pt x="128" y="68"/>
                  </a:cubicBezTo>
                  <a:cubicBezTo>
                    <a:pt x="128" y="83"/>
                    <a:pt x="128" y="83"/>
                    <a:pt x="128" y="83"/>
                  </a:cubicBezTo>
                  <a:lnTo>
                    <a:pt x="32" y="83"/>
                  </a:lnTo>
                  <a:close/>
                  <a:moveTo>
                    <a:pt x="96" y="60"/>
                  </a:moveTo>
                  <a:cubicBezTo>
                    <a:pt x="96" y="48"/>
                    <a:pt x="94" y="40"/>
                    <a:pt x="89" y="34"/>
                  </a:cubicBezTo>
                  <a:cubicBezTo>
                    <a:pt x="83" y="28"/>
                    <a:pt x="76" y="25"/>
                    <a:pt x="67" y="25"/>
                  </a:cubicBezTo>
                  <a:cubicBezTo>
                    <a:pt x="58" y="25"/>
                    <a:pt x="50" y="28"/>
                    <a:pt x="44" y="35"/>
                  </a:cubicBezTo>
                  <a:cubicBezTo>
                    <a:pt x="38" y="41"/>
                    <a:pt x="34" y="49"/>
                    <a:pt x="32" y="60"/>
                  </a:cubicBezTo>
                  <a:lnTo>
                    <a:pt x="96" y="6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0" name="Freeform 56"/>
            <p:cNvSpPr>
              <a:spLocks/>
            </p:cNvSpPr>
            <p:nvPr userDrawn="1"/>
          </p:nvSpPr>
          <p:spPr bwMode="auto">
            <a:xfrm>
              <a:off x="3605213" y="2508251"/>
              <a:ext cx="201613" cy="336550"/>
            </a:xfrm>
            <a:custGeom>
              <a:avLst/>
              <a:gdLst>
                <a:gd name="T0" fmla="*/ 93 w 125"/>
                <a:gd name="T1" fmla="*/ 208 h 208"/>
                <a:gd name="T2" fmla="*/ 93 w 125"/>
                <a:gd name="T3" fmla="*/ 129 h 208"/>
                <a:gd name="T4" fmla="*/ 86 w 125"/>
                <a:gd name="T5" fmla="*/ 100 h 208"/>
                <a:gd name="T6" fmla="*/ 65 w 125"/>
                <a:gd name="T7" fmla="*/ 90 h 208"/>
                <a:gd name="T8" fmla="*/ 41 w 125"/>
                <a:gd name="T9" fmla="*/ 101 h 208"/>
                <a:gd name="T10" fmla="*/ 32 w 125"/>
                <a:gd name="T11" fmla="*/ 128 h 208"/>
                <a:gd name="T12" fmla="*/ 32 w 125"/>
                <a:gd name="T13" fmla="*/ 208 h 208"/>
                <a:gd name="T14" fmla="*/ 0 w 125"/>
                <a:gd name="T15" fmla="*/ 208 h 208"/>
                <a:gd name="T16" fmla="*/ 0 w 125"/>
                <a:gd name="T17" fmla="*/ 0 h 208"/>
                <a:gd name="T18" fmla="*/ 32 w 125"/>
                <a:gd name="T19" fmla="*/ 0 h 208"/>
                <a:gd name="T20" fmla="*/ 32 w 125"/>
                <a:gd name="T21" fmla="*/ 90 h 208"/>
                <a:gd name="T22" fmla="*/ 33 w 125"/>
                <a:gd name="T23" fmla="*/ 90 h 208"/>
                <a:gd name="T24" fmla="*/ 77 w 125"/>
                <a:gd name="T25" fmla="*/ 64 h 208"/>
                <a:gd name="T26" fmla="*/ 113 w 125"/>
                <a:gd name="T27" fmla="*/ 79 h 208"/>
                <a:gd name="T28" fmla="*/ 125 w 125"/>
                <a:gd name="T29" fmla="*/ 122 h 208"/>
                <a:gd name="T30" fmla="*/ 125 w 125"/>
                <a:gd name="T31" fmla="*/ 208 h 208"/>
                <a:gd name="T32" fmla="*/ 93 w 125"/>
                <a:gd name="T33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208">
                  <a:moveTo>
                    <a:pt x="93" y="208"/>
                  </a:moveTo>
                  <a:cubicBezTo>
                    <a:pt x="93" y="129"/>
                    <a:pt x="93" y="129"/>
                    <a:pt x="93" y="129"/>
                  </a:cubicBezTo>
                  <a:cubicBezTo>
                    <a:pt x="93" y="116"/>
                    <a:pt x="91" y="107"/>
                    <a:pt x="86" y="100"/>
                  </a:cubicBezTo>
                  <a:cubicBezTo>
                    <a:pt x="82" y="94"/>
                    <a:pt x="75" y="90"/>
                    <a:pt x="65" y="90"/>
                  </a:cubicBezTo>
                  <a:cubicBezTo>
                    <a:pt x="56" y="90"/>
                    <a:pt x="48" y="94"/>
                    <a:pt x="41" y="101"/>
                  </a:cubicBezTo>
                  <a:cubicBezTo>
                    <a:pt x="35" y="108"/>
                    <a:pt x="32" y="117"/>
                    <a:pt x="32" y="128"/>
                  </a:cubicBezTo>
                  <a:cubicBezTo>
                    <a:pt x="32" y="208"/>
                    <a:pt x="32" y="208"/>
                    <a:pt x="32" y="208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90"/>
                    <a:pt x="32" y="90"/>
                    <a:pt x="32" y="90"/>
                  </a:cubicBezTo>
                  <a:cubicBezTo>
                    <a:pt x="33" y="90"/>
                    <a:pt x="33" y="90"/>
                    <a:pt x="33" y="90"/>
                  </a:cubicBezTo>
                  <a:cubicBezTo>
                    <a:pt x="43" y="73"/>
                    <a:pt x="58" y="64"/>
                    <a:pt x="77" y="64"/>
                  </a:cubicBezTo>
                  <a:cubicBezTo>
                    <a:pt x="93" y="64"/>
                    <a:pt x="105" y="69"/>
                    <a:pt x="113" y="79"/>
                  </a:cubicBezTo>
                  <a:cubicBezTo>
                    <a:pt x="121" y="89"/>
                    <a:pt x="125" y="103"/>
                    <a:pt x="125" y="122"/>
                  </a:cubicBezTo>
                  <a:cubicBezTo>
                    <a:pt x="125" y="208"/>
                    <a:pt x="125" y="208"/>
                    <a:pt x="125" y="208"/>
                  </a:cubicBezTo>
                  <a:lnTo>
                    <a:pt x="93" y="208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1" name="Freeform 57"/>
            <p:cNvSpPr>
              <a:spLocks noEditPoints="1"/>
            </p:cNvSpPr>
            <p:nvPr userDrawn="1"/>
          </p:nvSpPr>
          <p:spPr bwMode="auto">
            <a:xfrm>
              <a:off x="3854450" y="2611438"/>
              <a:ext cx="234950" cy="239713"/>
            </a:xfrm>
            <a:custGeom>
              <a:avLst/>
              <a:gdLst>
                <a:gd name="T0" fmla="*/ 145 w 145"/>
                <a:gd name="T1" fmla="*/ 73 h 148"/>
                <a:gd name="T2" fmla="*/ 125 w 145"/>
                <a:gd name="T3" fmla="*/ 127 h 148"/>
                <a:gd name="T4" fmla="*/ 71 w 145"/>
                <a:gd name="T5" fmla="*/ 148 h 148"/>
                <a:gd name="T6" fmla="*/ 19 w 145"/>
                <a:gd name="T7" fmla="*/ 128 h 148"/>
                <a:gd name="T8" fmla="*/ 0 w 145"/>
                <a:gd name="T9" fmla="*/ 76 h 148"/>
                <a:gd name="T10" fmla="*/ 20 w 145"/>
                <a:gd name="T11" fmla="*/ 21 h 148"/>
                <a:gd name="T12" fmla="*/ 75 w 145"/>
                <a:gd name="T13" fmla="*/ 0 h 148"/>
                <a:gd name="T14" fmla="*/ 126 w 145"/>
                <a:gd name="T15" fmla="*/ 20 h 148"/>
                <a:gd name="T16" fmla="*/ 145 w 145"/>
                <a:gd name="T17" fmla="*/ 73 h 148"/>
                <a:gd name="T18" fmla="*/ 112 w 145"/>
                <a:gd name="T19" fmla="*/ 74 h 148"/>
                <a:gd name="T20" fmla="*/ 101 w 145"/>
                <a:gd name="T21" fmla="*/ 38 h 148"/>
                <a:gd name="T22" fmla="*/ 73 w 145"/>
                <a:gd name="T23" fmla="*/ 26 h 148"/>
                <a:gd name="T24" fmla="*/ 44 w 145"/>
                <a:gd name="T25" fmla="*/ 39 h 148"/>
                <a:gd name="T26" fmla="*/ 33 w 145"/>
                <a:gd name="T27" fmla="*/ 75 h 148"/>
                <a:gd name="T28" fmla="*/ 44 w 145"/>
                <a:gd name="T29" fmla="*/ 110 h 148"/>
                <a:gd name="T30" fmla="*/ 73 w 145"/>
                <a:gd name="T31" fmla="*/ 122 h 148"/>
                <a:gd name="T32" fmla="*/ 102 w 145"/>
                <a:gd name="T33" fmla="*/ 110 h 148"/>
                <a:gd name="T34" fmla="*/ 112 w 145"/>
                <a:gd name="T35" fmla="*/ 7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5" h="148">
                  <a:moveTo>
                    <a:pt x="145" y="73"/>
                  </a:moveTo>
                  <a:cubicBezTo>
                    <a:pt x="145" y="96"/>
                    <a:pt x="138" y="114"/>
                    <a:pt x="125" y="127"/>
                  </a:cubicBezTo>
                  <a:cubicBezTo>
                    <a:pt x="112" y="141"/>
                    <a:pt x="94" y="148"/>
                    <a:pt x="71" y="148"/>
                  </a:cubicBezTo>
                  <a:cubicBezTo>
                    <a:pt x="50" y="148"/>
                    <a:pt x="32" y="141"/>
                    <a:pt x="19" y="128"/>
                  </a:cubicBezTo>
                  <a:cubicBezTo>
                    <a:pt x="7" y="116"/>
                    <a:pt x="0" y="98"/>
                    <a:pt x="0" y="76"/>
                  </a:cubicBezTo>
                  <a:cubicBezTo>
                    <a:pt x="0" y="52"/>
                    <a:pt x="7" y="34"/>
                    <a:pt x="20" y="21"/>
                  </a:cubicBezTo>
                  <a:cubicBezTo>
                    <a:pt x="33" y="7"/>
                    <a:pt x="51" y="0"/>
                    <a:pt x="75" y="0"/>
                  </a:cubicBezTo>
                  <a:cubicBezTo>
                    <a:pt x="97" y="0"/>
                    <a:pt x="114" y="7"/>
                    <a:pt x="126" y="20"/>
                  </a:cubicBezTo>
                  <a:cubicBezTo>
                    <a:pt x="139" y="33"/>
                    <a:pt x="145" y="50"/>
                    <a:pt x="145" y="73"/>
                  </a:cubicBezTo>
                  <a:close/>
                  <a:moveTo>
                    <a:pt x="112" y="74"/>
                  </a:moveTo>
                  <a:cubicBezTo>
                    <a:pt x="112" y="58"/>
                    <a:pt x="108" y="46"/>
                    <a:pt x="101" y="38"/>
                  </a:cubicBezTo>
                  <a:cubicBezTo>
                    <a:pt x="94" y="30"/>
                    <a:pt x="85" y="26"/>
                    <a:pt x="73" y="26"/>
                  </a:cubicBezTo>
                  <a:cubicBezTo>
                    <a:pt x="60" y="26"/>
                    <a:pt x="51" y="31"/>
                    <a:pt x="44" y="39"/>
                  </a:cubicBezTo>
                  <a:cubicBezTo>
                    <a:pt x="37" y="47"/>
                    <a:pt x="33" y="59"/>
                    <a:pt x="33" y="75"/>
                  </a:cubicBezTo>
                  <a:cubicBezTo>
                    <a:pt x="33" y="90"/>
                    <a:pt x="37" y="101"/>
                    <a:pt x="44" y="110"/>
                  </a:cubicBezTo>
                  <a:cubicBezTo>
                    <a:pt x="51" y="118"/>
                    <a:pt x="61" y="122"/>
                    <a:pt x="73" y="122"/>
                  </a:cubicBezTo>
                  <a:cubicBezTo>
                    <a:pt x="86" y="122"/>
                    <a:pt x="95" y="118"/>
                    <a:pt x="102" y="110"/>
                  </a:cubicBezTo>
                  <a:cubicBezTo>
                    <a:pt x="108" y="102"/>
                    <a:pt x="112" y="90"/>
                    <a:pt x="112" y="74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2" name="Freeform 58"/>
            <p:cNvSpPr>
              <a:spLocks/>
            </p:cNvSpPr>
            <p:nvPr userDrawn="1"/>
          </p:nvSpPr>
          <p:spPr bwMode="auto">
            <a:xfrm>
              <a:off x="4135438" y="2617788"/>
              <a:ext cx="203200" cy="233363"/>
            </a:xfrm>
            <a:custGeom>
              <a:avLst/>
              <a:gdLst>
                <a:gd name="T0" fmla="*/ 93 w 125"/>
                <a:gd name="T1" fmla="*/ 140 h 144"/>
                <a:gd name="T2" fmla="*/ 93 w 125"/>
                <a:gd name="T3" fmla="*/ 119 h 144"/>
                <a:gd name="T4" fmla="*/ 93 w 125"/>
                <a:gd name="T5" fmla="*/ 119 h 144"/>
                <a:gd name="T6" fmla="*/ 75 w 125"/>
                <a:gd name="T7" fmla="*/ 137 h 144"/>
                <a:gd name="T8" fmla="*/ 50 w 125"/>
                <a:gd name="T9" fmla="*/ 144 h 144"/>
                <a:gd name="T10" fmla="*/ 13 w 125"/>
                <a:gd name="T11" fmla="*/ 129 h 144"/>
                <a:gd name="T12" fmla="*/ 0 w 125"/>
                <a:gd name="T13" fmla="*/ 85 h 144"/>
                <a:gd name="T14" fmla="*/ 0 w 125"/>
                <a:gd name="T15" fmla="*/ 0 h 144"/>
                <a:gd name="T16" fmla="*/ 32 w 125"/>
                <a:gd name="T17" fmla="*/ 0 h 144"/>
                <a:gd name="T18" fmla="*/ 32 w 125"/>
                <a:gd name="T19" fmla="*/ 81 h 144"/>
                <a:gd name="T20" fmla="*/ 61 w 125"/>
                <a:gd name="T21" fmla="*/ 118 h 144"/>
                <a:gd name="T22" fmla="*/ 85 w 125"/>
                <a:gd name="T23" fmla="*/ 108 h 144"/>
                <a:gd name="T24" fmla="*/ 93 w 125"/>
                <a:gd name="T25" fmla="*/ 81 h 144"/>
                <a:gd name="T26" fmla="*/ 93 w 125"/>
                <a:gd name="T27" fmla="*/ 0 h 144"/>
                <a:gd name="T28" fmla="*/ 125 w 125"/>
                <a:gd name="T29" fmla="*/ 0 h 144"/>
                <a:gd name="T30" fmla="*/ 125 w 125"/>
                <a:gd name="T31" fmla="*/ 140 h 144"/>
                <a:gd name="T32" fmla="*/ 93 w 125"/>
                <a:gd name="T33" fmla="*/ 14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144">
                  <a:moveTo>
                    <a:pt x="93" y="140"/>
                  </a:moveTo>
                  <a:cubicBezTo>
                    <a:pt x="93" y="119"/>
                    <a:pt x="93" y="119"/>
                    <a:pt x="93" y="119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88" y="127"/>
                    <a:pt x="83" y="133"/>
                    <a:pt x="75" y="137"/>
                  </a:cubicBezTo>
                  <a:cubicBezTo>
                    <a:pt x="68" y="142"/>
                    <a:pt x="60" y="144"/>
                    <a:pt x="50" y="144"/>
                  </a:cubicBezTo>
                  <a:cubicBezTo>
                    <a:pt x="34" y="144"/>
                    <a:pt x="21" y="139"/>
                    <a:pt x="13" y="129"/>
                  </a:cubicBezTo>
                  <a:cubicBezTo>
                    <a:pt x="4" y="119"/>
                    <a:pt x="0" y="105"/>
                    <a:pt x="0" y="8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2" y="106"/>
                    <a:pt x="42" y="118"/>
                    <a:pt x="61" y="118"/>
                  </a:cubicBezTo>
                  <a:cubicBezTo>
                    <a:pt x="71" y="118"/>
                    <a:pt x="79" y="115"/>
                    <a:pt x="85" y="108"/>
                  </a:cubicBezTo>
                  <a:cubicBezTo>
                    <a:pt x="90" y="101"/>
                    <a:pt x="93" y="92"/>
                    <a:pt x="93" y="81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40"/>
                    <a:pt x="125" y="140"/>
                    <a:pt x="125" y="140"/>
                  </a:cubicBezTo>
                  <a:lnTo>
                    <a:pt x="93" y="14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3" name="Freeform 59"/>
            <p:cNvSpPr>
              <a:spLocks/>
            </p:cNvSpPr>
            <p:nvPr userDrawn="1"/>
          </p:nvSpPr>
          <p:spPr bwMode="auto">
            <a:xfrm>
              <a:off x="4392613" y="2611438"/>
              <a:ext cx="150813" cy="239713"/>
            </a:xfrm>
            <a:custGeom>
              <a:avLst/>
              <a:gdLst>
                <a:gd name="T0" fmla="*/ 93 w 93"/>
                <a:gd name="T1" fmla="*/ 104 h 148"/>
                <a:gd name="T2" fmla="*/ 78 w 93"/>
                <a:gd name="T3" fmla="*/ 136 h 148"/>
                <a:gd name="T4" fmla="*/ 37 w 93"/>
                <a:gd name="T5" fmla="*/ 148 h 148"/>
                <a:gd name="T6" fmla="*/ 18 w 93"/>
                <a:gd name="T7" fmla="*/ 146 h 148"/>
                <a:gd name="T8" fmla="*/ 0 w 93"/>
                <a:gd name="T9" fmla="*/ 140 h 148"/>
                <a:gd name="T10" fmla="*/ 0 w 93"/>
                <a:gd name="T11" fmla="*/ 110 h 148"/>
                <a:gd name="T12" fmla="*/ 19 w 93"/>
                <a:gd name="T13" fmla="*/ 120 h 148"/>
                <a:gd name="T14" fmla="*/ 38 w 93"/>
                <a:gd name="T15" fmla="*/ 123 h 148"/>
                <a:gd name="T16" fmla="*/ 61 w 93"/>
                <a:gd name="T17" fmla="*/ 108 h 148"/>
                <a:gd name="T18" fmla="*/ 59 w 93"/>
                <a:gd name="T19" fmla="*/ 99 h 148"/>
                <a:gd name="T20" fmla="*/ 51 w 93"/>
                <a:gd name="T21" fmla="*/ 93 h 148"/>
                <a:gd name="T22" fmla="*/ 34 w 93"/>
                <a:gd name="T23" fmla="*/ 85 h 148"/>
                <a:gd name="T24" fmla="*/ 13 w 93"/>
                <a:gd name="T25" fmla="*/ 73 h 148"/>
                <a:gd name="T26" fmla="*/ 3 w 93"/>
                <a:gd name="T27" fmla="*/ 61 h 148"/>
                <a:gd name="T28" fmla="*/ 0 w 93"/>
                <a:gd name="T29" fmla="*/ 43 h 148"/>
                <a:gd name="T30" fmla="*/ 15 w 93"/>
                <a:gd name="T31" fmla="*/ 12 h 148"/>
                <a:gd name="T32" fmla="*/ 54 w 93"/>
                <a:gd name="T33" fmla="*/ 0 h 148"/>
                <a:gd name="T34" fmla="*/ 70 w 93"/>
                <a:gd name="T35" fmla="*/ 2 h 148"/>
                <a:gd name="T36" fmla="*/ 85 w 93"/>
                <a:gd name="T37" fmla="*/ 6 h 148"/>
                <a:gd name="T38" fmla="*/ 85 w 93"/>
                <a:gd name="T39" fmla="*/ 35 h 148"/>
                <a:gd name="T40" fmla="*/ 70 w 93"/>
                <a:gd name="T41" fmla="*/ 28 h 148"/>
                <a:gd name="T42" fmla="*/ 53 w 93"/>
                <a:gd name="T43" fmla="*/ 25 h 148"/>
                <a:gd name="T44" fmla="*/ 38 w 93"/>
                <a:gd name="T45" fmla="*/ 30 h 148"/>
                <a:gd name="T46" fmla="*/ 32 w 93"/>
                <a:gd name="T47" fmla="*/ 40 h 148"/>
                <a:gd name="T48" fmla="*/ 37 w 93"/>
                <a:gd name="T49" fmla="*/ 52 h 148"/>
                <a:gd name="T50" fmla="*/ 57 w 93"/>
                <a:gd name="T51" fmla="*/ 63 h 148"/>
                <a:gd name="T52" fmla="*/ 85 w 93"/>
                <a:gd name="T53" fmla="*/ 80 h 148"/>
                <a:gd name="T54" fmla="*/ 93 w 93"/>
                <a:gd name="T55" fmla="*/ 10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3" h="148">
                  <a:moveTo>
                    <a:pt x="93" y="104"/>
                  </a:moveTo>
                  <a:cubicBezTo>
                    <a:pt x="93" y="117"/>
                    <a:pt x="88" y="128"/>
                    <a:pt x="78" y="136"/>
                  </a:cubicBezTo>
                  <a:cubicBezTo>
                    <a:pt x="68" y="144"/>
                    <a:pt x="54" y="148"/>
                    <a:pt x="37" y="148"/>
                  </a:cubicBezTo>
                  <a:cubicBezTo>
                    <a:pt x="31" y="148"/>
                    <a:pt x="25" y="147"/>
                    <a:pt x="18" y="146"/>
                  </a:cubicBezTo>
                  <a:cubicBezTo>
                    <a:pt x="11" y="144"/>
                    <a:pt x="5" y="142"/>
                    <a:pt x="0" y="14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6" y="114"/>
                    <a:pt x="12" y="117"/>
                    <a:pt x="19" y="120"/>
                  </a:cubicBezTo>
                  <a:cubicBezTo>
                    <a:pt x="26" y="122"/>
                    <a:pt x="33" y="123"/>
                    <a:pt x="38" y="123"/>
                  </a:cubicBezTo>
                  <a:cubicBezTo>
                    <a:pt x="53" y="123"/>
                    <a:pt x="61" y="118"/>
                    <a:pt x="61" y="108"/>
                  </a:cubicBezTo>
                  <a:cubicBezTo>
                    <a:pt x="61" y="104"/>
                    <a:pt x="60" y="102"/>
                    <a:pt x="59" y="99"/>
                  </a:cubicBezTo>
                  <a:cubicBezTo>
                    <a:pt x="57" y="97"/>
                    <a:pt x="55" y="95"/>
                    <a:pt x="51" y="93"/>
                  </a:cubicBezTo>
                  <a:cubicBezTo>
                    <a:pt x="47" y="91"/>
                    <a:pt x="41" y="88"/>
                    <a:pt x="34" y="85"/>
                  </a:cubicBezTo>
                  <a:cubicBezTo>
                    <a:pt x="24" y="81"/>
                    <a:pt x="18" y="77"/>
                    <a:pt x="13" y="73"/>
                  </a:cubicBezTo>
                  <a:cubicBezTo>
                    <a:pt x="9" y="70"/>
                    <a:pt x="5" y="65"/>
                    <a:pt x="3" y="61"/>
                  </a:cubicBezTo>
                  <a:cubicBezTo>
                    <a:pt x="1" y="56"/>
                    <a:pt x="0" y="50"/>
                    <a:pt x="0" y="43"/>
                  </a:cubicBezTo>
                  <a:cubicBezTo>
                    <a:pt x="0" y="31"/>
                    <a:pt x="5" y="20"/>
                    <a:pt x="15" y="12"/>
                  </a:cubicBezTo>
                  <a:cubicBezTo>
                    <a:pt x="25" y="4"/>
                    <a:pt x="38" y="0"/>
                    <a:pt x="54" y="0"/>
                  </a:cubicBezTo>
                  <a:cubicBezTo>
                    <a:pt x="59" y="0"/>
                    <a:pt x="64" y="1"/>
                    <a:pt x="70" y="2"/>
                  </a:cubicBezTo>
                  <a:cubicBezTo>
                    <a:pt x="77" y="3"/>
                    <a:pt x="82" y="5"/>
                    <a:pt x="85" y="6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1" y="32"/>
                    <a:pt x="76" y="30"/>
                    <a:pt x="70" y="28"/>
                  </a:cubicBezTo>
                  <a:cubicBezTo>
                    <a:pt x="64" y="26"/>
                    <a:pt x="58" y="25"/>
                    <a:pt x="53" y="25"/>
                  </a:cubicBezTo>
                  <a:cubicBezTo>
                    <a:pt x="46" y="25"/>
                    <a:pt x="41" y="27"/>
                    <a:pt x="38" y="30"/>
                  </a:cubicBezTo>
                  <a:cubicBezTo>
                    <a:pt x="34" y="32"/>
                    <a:pt x="32" y="36"/>
                    <a:pt x="32" y="40"/>
                  </a:cubicBezTo>
                  <a:cubicBezTo>
                    <a:pt x="32" y="45"/>
                    <a:pt x="34" y="49"/>
                    <a:pt x="37" y="52"/>
                  </a:cubicBezTo>
                  <a:cubicBezTo>
                    <a:pt x="39" y="55"/>
                    <a:pt x="46" y="58"/>
                    <a:pt x="57" y="63"/>
                  </a:cubicBezTo>
                  <a:cubicBezTo>
                    <a:pt x="70" y="68"/>
                    <a:pt x="79" y="74"/>
                    <a:pt x="85" y="80"/>
                  </a:cubicBezTo>
                  <a:cubicBezTo>
                    <a:pt x="90" y="87"/>
                    <a:pt x="93" y="95"/>
                    <a:pt x="93" y="104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4" name="Freeform 60"/>
            <p:cNvSpPr>
              <a:spLocks noEditPoints="1"/>
            </p:cNvSpPr>
            <p:nvPr userDrawn="1"/>
          </p:nvSpPr>
          <p:spPr bwMode="auto">
            <a:xfrm>
              <a:off x="4576763" y="2611438"/>
              <a:ext cx="207963" cy="239713"/>
            </a:xfrm>
            <a:custGeom>
              <a:avLst/>
              <a:gdLst>
                <a:gd name="T0" fmla="*/ 33 w 129"/>
                <a:gd name="T1" fmla="*/ 83 h 148"/>
                <a:gd name="T2" fmla="*/ 44 w 129"/>
                <a:gd name="T3" fmla="*/ 113 h 148"/>
                <a:gd name="T4" fmla="*/ 75 w 129"/>
                <a:gd name="T5" fmla="*/ 123 h 148"/>
                <a:gd name="T6" fmla="*/ 98 w 129"/>
                <a:gd name="T7" fmla="*/ 119 h 148"/>
                <a:gd name="T8" fmla="*/ 117 w 129"/>
                <a:gd name="T9" fmla="*/ 109 h 148"/>
                <a:gd name="T10" fmla="*/ 117 w 129"/>
                <a:gd name="T11" fmla="*/ 136 h 148"/>
                <a:gd name="T12" fmla="*/ 96 w 129"/>
                <a:gd name="T13" fmla="*/ 145 h 148"/>
                <a:gd name="T14" fmla="*/ 67 w 129"/>
                <a:gd name="T15" fmla="*/ 148 h 148"/>
                <a:gd name="T16" fmla="*/ 18 w 129"/>
                <a:gd name="T17" fmla="*/ 129 h 148"/>
                <a:gd name="T18" fmla="*/ 0 w 129"/>
                <a:gd name="T19" fmla="*/ 76 h 148"/>
                <a:gd name="T20" fmla="*/ 9 w 129"/>
                <a:gd name="T21" fmla="*/ 36 h 148"/>
                <a:gd name="T22" fmla="*/ 33 w 129"/>
                <a:gd name="T23" fmla="*/ 10 h 148"/>
                <a:gd name="T24" fmla="*/ 67 w 129"/>
                <a:gd name="T25" fmla="*/ 0 h 148"/>
                <a:gd name="T26" fmla="*/ 112 w 129"/>
                <a:gd name="T27" fmla="*/ 18 h 148"/>
                <a:gd name="T28" fmla="*/ 129 w 129"/>
                <a:gd name="T29" fmla="*/ 68 h 148"/>
                <a:gd name="T30" fmla="*/ 129 w 129"/>
                <a:gd name="T31" fmla="*/ 83 h 148"/>
                <a:gd name="T32" fmla="*/ 33 w 129"/>
                <a:gd name="T33" fmla="*/ 83 h 148"/>
                <a:gd name="T34" fmla="*/ 97 w 129"/>
                <a:gd name="T35" fmla="*/ 60 h 148"/>
                <a:gd name="T36" fmla="*/ 89 w 129"/>
                <a:gd name="T37" fmla="*/ 34 h 148"/>
                <a:gd name="T38" fmla="*/ 67 w 129"/>
                <a:gd name="T39" fmla="*/ 25 h 148"/>
                <a:gd name="T40" fmla="*/ 45 w 129"/>
                <a:gd name="T41" fmla="*/ 35 h 148"/>
                <a:gd name="T42" fmla="*/ 33 w 129"/>
                <a:gd name="T43" fmla="*/ 60 h 148"/>
                <a:gd name="T44" fmla="*/ 97 w 129"/>
                <a:gd name="T45" fmla="*/ 6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9" h="148">
                  <a:moveTo>
                    <a:pt x="33" y="83"/>
                  </a:moveTo>
                  <a:cubicBezTo>
                    <a:pt x="33" y="96"/>
                    <a:pt x="37" y="106"/>
                    <a:pt x="44" y="113"/>
                  </a:cubicBezTo>
                  <a:cubicBezTo>
                    <a:pt x="52" y="119"/>
                    <a:pt x="62" y="123"/>
                    <a:pt x="75" y="123"/>
                  </a:cubicBezTo>
                  <a:cubicBezTo>
                    <a:pt x="83" y="123"/>
                    <a:pt x="91" y="122"/>
                    <a:pt x="98" y="119"/>
                  </a:cubicBezTo>
                  <a:cubicBezTo>
                    <a:pt x="105" y="116"/>
                    <a:pt x="112" y="113"/>
                    <a:pt x="117" y="109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2" y="140"/>
                    <a:pt x="105" y="142"/>
                    <a:pt x="96" y="145"/>
                  </a:cubicBezTo>
                  <a:cubicBezTo>
                    <a:pt x="87" y="147"/>
                    <a:pt x="77" y="148"/>
                    <a:pt x="67" y="148"/>
                  </a:cubicBezTo>
                  <a:cubicBezTo>
                    <a:pt x="46" y="148"/>
                    <a:pt x="30" y="142"/>
                    <a:pt x="18" y="129"/>
                  </a:cubicBezTo>
                  <a:cubicBezTo>
                    <a:pt x="6" y="116"/>
                    <a:pt x="0" y="98"/>
                    <a:pt x="0" y="76"/>
                  </a:cubicBezTo>
                  <a:cubicBezTo>
                    <a:pt x="0" y="61"/>
                    <a:pt x="3" y="47"/>
                    <a:pt x="9" y="36"/>
                  </a:cubicBezTo>
                  <a:cubicBezTo>
                    <a:pt x="15" y="25"/>
                    <a:pt x="23" y="16"/>
                    <a:pt x="33" y="10"/>
                  </a:cubicBezTo>
                  <a:cubicBezTo>
                    <a:pt x="43" y="4"/>
                    <a:pt x="55" y="0"/>
                    <a:pt x="67" y="0"/>
                  </a:cubicBezTo>
                  <a:cubicBezTo>
                    <a:pt x="87" y="0"/>
                    <a:pt x="102" y="6"/>
                    <a:pt x="112" y="18"/>
                  </a:cubicBezTo>
                  <a:cubicBezTo>
                    <a:pt x="123" y="30"/>
                    <a:pt x="129" y="47"/>
                    <a:pt x="129" y="68"/>
                  </a:cubicBezTo>
                  <a:cubicBezTo>
                    <a:pt x="129" y="83"/>
                    <a:pt x="129" y="83"/>
                    <a:pt x="129" y="83"/>
                  </a:cubicBezTo>
                  <a:lnTo>
                    <a:pt x="33" y="83"/>
                  </a:lnTo>
                  <a:close/>
                  <a:moveTo>
                    <a:pt x="97" y="60"/>
                  </a:moveTo>
                  <a:cubicBezTo>
                    <a:pt x="97" y="48"/>
                    <a:pt x="94" y="40"/>
                    <a:pt x="89" y="34"/>
                  </a:cubicBezTo>
                  <a:cubicBezTo>
                    <a:pt x="84" y="28"/>
                    <a:pt x="77" y="25"/>
                    <a:pt x="67" y="25"/>
                  </a:cubicBezTo>
                  <a:cubicBezTo>
                    <a:pt x="59" y="25"/>
                    <a:pt x="51" y="28"/>
                    <a:pt x="45" y="35"/>
                  </a:cubicBezTo>
                  <a:cubicBezTo>
                    <a:pt x="38" y="41"/>
                    <a:pt x="34" y="49"/>
                    <a:pt x="33" y="60"/>
                  </a:cubicBezTo>
                  <a:lnTo>
                    <a:pt x="97" y="6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159" name="Group 158"/>
          <p:cNvGrpSpPr/>
          <p:nvPr userDrawn="1"/>
        </p:nvGrpSpPr>
        <p:grpSpPr>
          <a:xfrm>
            <a:off x="4540484" y="888770"/>
            <a:ext cx="4776264" cy="4702229"/>
            <a:chOff x="3657600" y="-6505575"/>
            <a:chExt cx="4872038" cy="4795838"/>
          </a:xfrm>
        </p:grpSpPr>
        <p:sp>
          <p:nvSpPr>
            <p:cNvPr id="90" name="Freeform 78"/>
            <p:cNvSpPr>
              <a:spLocks/>
            </p:cNvSpPr>
            <p:nvPr userDrawn="1"/>
          </p:nvSpPr>
          <p:spPr bwMode="auto">
            <a:xfrm>
              <a:off x="6442075" y="-3392488"/>
              <a:ext cx="1101725" cy="520700"/>
            </a:xfrm>
            <a:custGeom>
              <a:avLst/>
              <a:gdLst>
                <a:gd name="T0" fmla="*/ 0 w 694"/>
                <a:gd name="T1" fmla="*/ 256 h 328"/>
                <a:gd name="T2" fmla="*/ 125 w 694"/>
                <a:gd name="T3" fmla="*/ 328 h 328"/>
                <a:gd name="T4" fmla="*/ 694 w 694"/>
                <a:gd name="T5" fmla="*/ 0 h 328"/>
                <a:gd name="T6" fmla="*/ 694 w 694"/>
                <a:gd name="T7" fmla="*/ 0 h 328"/>
                <a:gd name="T8" fmla="*/ 125 w 694"/>
                <a:gd name="T9" fmla="*/ 328 h 328"/>
                <a:gd name="T10" fmla="*/ 0 w 694"/>
                <a:gd name="T11" fmla="*/ 256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4" h="328">
                  <a:moveTo>
                    <a:pt x="0" y="256"/>
                  </a:moveTo>
                  <a:lnTo>
                    <a:pt x="125" y="328"/>
                  </a:lnTo>
                  <a:lnTo>
                    <a:pt x="694" y="0"/>
                  </a:lnTo>
                  <a:lnTo>
                    <a:pt x="694" y="0"/>
                  </a:lnTo>
                  <a:lnTo>
                    <a:pt x="125" y="328"/>
                  </a:lnTo>
                  <a:lnTo>
                    <a:pt x="0" y="256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9" name="Freeform 87"/>
            <p:cNvSpPr>
              <a:spLocks/>
            </p:cNvSpPr>
            <p:nvPr userDrawn="1"/>
          </p:nvSpPr>
          <p:spPr bwMode="auto">
            <a:xfrm>
              <a:off x="5737225" y="-5473700"/>
              <a:ext cx="903288" cy="1560513"/>
            </a:xfrm>
            <a:custGeom>
              <a:avLst/>
              <a:gdLst>
                <a:gd name="T0" fmla="*/ 569 w 569"/>
                <a:gd name="T1" fmla="*/ 983 h 983"/>
                <a:gd name="T2" fmla="*/ 0 w 569"/>
                <a:gd name="T3" fmla="*/ 655 h 983"/>
                <a:gd name="T4" fmla="*/ 0 w 569"/>
                <a:gd name="T5" fmla="*/ 0 h 983"/>
                <a:gd name="T6" fmla="*/ 569 w 569"/>
                <a:gd name="T7" fmla="*/ 329 h 983"/>
                <a:gd name="T8" fmla="*/ 569 w 569"/>
                <a:gd name="T9" fmla="*/ 983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9" h="983">
                  <a:moveTo>
                    <a:pt x="569" y="983"/>
                  </a:moveTo>
                  <a:lnTo>
                    <a:pt x="0" y="655"/>
                  </a:lnTo>
                  <a:lnTo>
                    <a:pt x="0" y="0"/>
                  </a:lnTo>
                  <a:lnTo>
                    <a:pt x="569" y="329"/>
                  </a:lnTo>
                  <a:lnTo>
                    <a:pt x="569" y="983"/>
                  </a:lnTo>
                  <a:close/>
                </a:path>
              </a:pathLst>
            </a:custGeom>
            <a:solidFill>
              <a:srgbClr val="CECEC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0" name="Freeform 88"/>
            <p:cNvSpPr>
              <a:spLocks/>
            </p:cNvSpPr>
            <p:nvPr userDrawn="1"/>
          </p:nvSpPr>
          <p:spPr bwMode="auto">
            <a:xfrm>
              <a:off x="5299075" y="-4183063"/>
              <a:ext cx="790575" cy="1233488"/>
            </a:xfrm>
            <a:custGeom>
              <a:avLst/>
              <a:gdLst>
                <a:gd name="T0" fmla="*/ 271 w 489"/>
                <a:gd name="T1" fmla="*/ 157 h 763"/>
                <a:gd name="T2" fmla="*/ 0 w 489"/>
                <a:gd name="T3" fmla="*/ 0 h 763"/>
                <a:gd name="T4" fmla="*/ 0 w 489"/>
                <a:gd name="T5" fmla="*/ 641 h 763"/>
                <a:gd name="T6" fmla="*/ 102 w 489"/>
                <a:gd name="T7" fmla="*/ 629 h 763"/>
                <a:gd name="T8" fmla="*/ 423 w 489"/>
                <a:gd name="T9" fmla="*/ 763 h 763"/>
                <a:gd name="T10" fmla="*/ 489 w 489"/>
                <a:gd name="T11" fmla="*/ 615 h 763"/>
                <a:gd name="T12" fmla="*/ 271 w 489"/>
                <a:gd name="T13" fmla="*/ 489 h 763"/>
                <a:gd name="T14" fmla="*/ 271 w 489"/>
                <a:gd name="T15" fmla="*/ 157 h 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9" h="763">
                  <a:moveTo>
                    <a:pt x="271" y="15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41"/>
                    <a:pt x="0" y="641"/>
                    <a:pt x="0" y="641"/>
                  </a:cubicBezTo>
                  <a:cubicBezTo>
                    <a:pt x="33" y="633"/>
                    <a:pt x="67" y="629"/>
                    <a:pt x="102" y="629"/>
                  </a:cubicBezTo>
                  <a:cubicBezTo>
                    <a:pt x="229" y="629"/>
                    <a:pt x="341" y="681"/>
                    <a:pt x="423" y="763"/>
                  </a:cubicBezTo>
                  <a:cubicBezTo>
                    <a:pt x="439" y="711"/>
                    <a:pt x="461" y="661"/>
                    <a:pt x="489" y="615"/>
                  </a:cubicBezTo>
                  <a:cubicBezTo>
                    <a:pt x="271" y="489"/>
                    <a:pt x="271" y="489"/>
                    <a:pt x="271" y="489"/>
                  </a:cubicBezTo>
                  <a:lnTo>
                    <a:pt x="271" y="157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9" name="Freeform 97"/>
            <p:cNvSpPr>
              <a:spLocks/>
            </p:cNvSpPr>
            <p:nvPr userDrawn="1"/>
          </p:nvSpPr>
          <p:spPr bwMode="auto">
            <a:xfrm>
              <a:off x="5956300" y="-3586163"/>
              <a:ext cx="57150" cy="228600"/>
            </a:xfrm>
            <a:custGeom>
              <a:avLst/>
              <a:gdLst>
                <a:gd name="T0" fmla="*/ 0 w 36"/>
                <a:gd name="T1" fmla="*/ 144 h 144"/>
                <a:gd name="T2" fmla="*/ 36 w 36"/>
                <a:gd name="T3" fmla="*/ 122 h 144"/>
                <a:gd name="T4" fmla="*/ 36 w 36"/>
                <a:gd name="T5" fmla="*/ 21 h 144"/>
                <a:gd name="T6" fmla="*/ 0 w 36"/>
                <a:gd name="T7" fmla="*/ 0 h 144"/>
                <a:gd name="T8" fmla="*/ 0 w 36"/>
                <a:gd name="T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44">
                  <a:moveTo>
                    <a:pt x="0" y="144"/>
                  </a:moveTo>
                  <a:lnTo>
                    <a:pt x="36" y="122"/>
                  </a:lnTo>
                  <a:lnTo>
                    <a:pt x="36" y="21"/>
                  </a:lnTo>
                  <a:lnTo>
                    <a:pt x="0" y="0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rgbClr val="91A8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0" name="Freeform 98"/>
            <p:cNvSpPr>
              <a:spLocks/>
            </p:cNvSpPr>
            <p:nvPr userDrawn="1"/>
          </p:nvSpPr>
          <p:spPr bwMode="auto">
            <a:xfrm>
              <a:off x="5930900" y="-3598863"/>
              <a:ext cx="25400" cy="255588"/>
            </a:xfrm>
            <a:custGeom>
              <a:avLst/>
              <a:gdLst>
                <a:gd name="T0" fmla="*/ 0 w 16"/>
                <a:gd name="T1" fmla="*/ 161 h 161"/>
                <a:gd name="T2" fmla="*/ 16 w 16"/>
                <a:gd name="T3" fmla="*/ 152 h 161"/>
                <a:gd name="T4" fmla="*/ 16 w 16"/>
                <a:gd name="T5" fmla="*/ 8 h 161"/>
                <a:gd name="T6" fmla="*/ 0 w 16"/>
                <a:gd name="T7" fmla="*/ 0 h 161"/>
                <a:gd name="T8" fmla="*/ 0 w 16"/>
                <a:gd name="T9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1">
                  <a:moveTo>
                    <a:pt x="0" y="161"/>
                  </a:moveTo>
                  <a:lnTo>
                    <a:pt x="16" y="152"/>
                  </a:lnTo>
                  <a:lnTo>
                    <a:pt x="16" y="8"/>
                  </a:lnTo>
                  <a:lnTo>
                    <a:pt x="0" y="0"/>
                  </a:lnTo>
                  <a:lnTo>
                    <a:pt x="0" y="161"/>
                  </a:lnTo>
                  <a:close/>
                </a:path>
              </a:pathLst>
            </a:custGeom>
            <a:solidFill>
              <a:srgbClr val="004B1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1" name="Freeform 99"/>
            <p:cNvSpPr>
              <a:spLocks/>
            </p:cNvSpPr>
            <p:nvPr userDrawn="1"/>
          </p:nvSpPr>
          <p:spPr bwMode="auto">
            <a:xfrm>
              <a:off x="5881688" y="-3629025"/>
              <a:ext cx="49213" cy="314325"/>
            </a:xfrm>
            <a:custGeom>
              <a:avLst/>
              <a:gdLst>
                <a:gd name="T0" fmla="*/ 0 w 31"/>
                <a:gd name="T1" fmla="*/ 198 h 198"/>
                <a:gd name="T2" fmla="*/ 31 w 31"/>
                <a:gd name="T3" fmla="*/ 180 h 198"/>
                <a:gd name="T4" fmla="*/ 31 w 31"/>
                <a:gd name="T5" fmla="*/ 19 h 198"/>
                <a:gd name="T6" fmla="*/ 0 w 31"/>
                <a:gd name="T7" fmla="*/ 0 h 198"/>
                <a:gd name="T8" fmla="*/ 0 w 31"/>
                <a:gd name="T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8">
                  <a:moveTo>
                    <a:pt x="0" y="198"/>
                  </a:moveTo>
                  <a:lnTo>
                    <a:pt x="31" y="180"/>
                  </a:lnTo>
                  <a:lnTo>
                    <a:pt x="31" y="19"/>
                  </a:lnTo>
                  <a:lnTo>
                    <a:pt x="0" y="0"/>
                  </a:lnTo>
                  <a:lnTo>
                    <a:pt x="0" y="198"/>
                  </a:lnTo>
                  <a:close/>
                </a:path>
              </a:pathLst>
            </a:custGeom>
            <a:solidFill>
              <a:srgbClr val="BAD8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2" name="Freeform 100"/>
            <p:cNvSpPr>
              <a:spLocks/>
            </p:cNvSpPr>
            <p:nvPr userDrawn="1"/>
          </p:nvSpPr>
          <p:spPr bwMode="auto">
            <a:xfrm>
              <a:off x="5737225" y="-3632200"/>
              <a:ext cx="144463" cy="320675"/>
            </a:xfrm>
            <a:custGeom>
              <a:avLst/>
              <a:gdLst>
                <a:gd name="T0" fmla="*/ 91 w 91"/>
                <a:gd name="T1" fmla="*/ 2 h 202"/>
                <a:gd name="T2" fmla="*/ 87 w 91"/>
                <a:gd name="T3" fmla="*/ 0 h 202"/>
                <a:gd name="T4" fmla="*/ 0 w 91"/>
                <a:gd name="T5" fmla="*/ 50 h 202"/>
                <a:gd name="T6" fmla="*/ 0 w 91"/>
                <a:gd name="T7" fmla="*/ 151 h 202"/>
                <a:gd name="T8" fmla="*/ 87 w 91"/>
                <a:gd name="T9" fmla="*/ 202 h 202"/>
                <a:gd name="T10" fmla="*/ 91 w 91"/>
                <a:gd name="T11" fmla="*/ 200 h 202"/>
                <a:gd name="T12" fmla="*/ 91 w 91"/>
                <a:gd name="T13" fmla="*/ 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202">
                  <a:moveTo>
                    <a:pt x="91" y="2"/>
                  </a:moveTo>
                  <a:lnTo>
                    <a:pt x="87" y="0"/>
                  </a:lnTo>
                  <a:lnTo>
                    <a:pt x="0" y="50"/>
                  </a:lnTo>
                  <a:lnTo>
                    <a:pt x="0" y="151"/>
                  </a:lnTo>
                  <a:lnTo>
                    <a:pt x="87" y="202"/>
                  </a:lnTo>
                  <a:lnTo>
                    <a:pt x="91" y="200"/>
                  </a:lnTo>
                  <a:lnTo>
                    <a:pt x="91" y="2"/>
                  </a:lnTo>
                  <a:close/>
                </a:path>
              </a:pathLst>
            </a:custGeom>
            <a:solidFill>
              <a:srgbClr val="107C1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1" name="Freeform 129"/>
            <p:cNvSpPr>
              <a:spLocks/>
            </p:cNvSpPr>
            <p:nvPr userDrawn="1"/>
          </p:nvSpPr>
          <p:spPr bwMode="auto">
            <a:xfrm>
              <a:off x="6640513" y="-4192588"/>
              <a:ext cx="1343025" cy="1831975"/>
            </a:xfrm>
            <a:custGeom>
              <a:avLst/>
              <a:gdLst>
                <a:gd name="T0" fmla="*/ 0 w 846"/>
                <a:gd name="T1" fmla="*/ 1154 h 1154"/>
                <a:gd name="T2" fmla="*/ 846 w 846"/>
                <a:gd name="T3" fmla="*/ 660 h 1154"/>
                <a:gd name="T4" fmla="*/ 846 w 846"/>
                <a:gd name="T5" fmla="*/ 0 h 1154"/>
                <a:gd name="T6" fmla="*/ 0 w 846"/>
                <a:gd name="T7" fmla="*/ 494 h 1154"/>
                <a:gd name="T8" fmla="*/ 0 w 846"/>
                <a:gd name="T9" fmla="*/ 1154 h 1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6" h="1154">
                  <a:moveTo>
                    <a:pt x="0" y="1154"/>
                  </a:moveTo>
                  <a:lnTo>
                    <a:pt x="846" y="660"/>
                  </a:lnTo>
                  <a:lnTo>
                    <a:pt x="846" y="0"/>
                  </a:lnTo>
                  <a:lnTo>
                    <a:pt x="0" y="494"/>
                  </a:lnTo>
                  <a:lnTo>
                    <a:pt x="0" y="1154"/>
                  </a:lnTo>
                  <a:close/>
                </a:path>
              </a:pathLst>
            </a:custGeom>
            <a:solidFill>
              <a:srgbClr val="00205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4" name="Freeform 132"/>
            <p:cNvSpPr>
              <a:spLocks/>
            </p:cNvSpPr>
            <p:nvPr userDrawn="1"/>
          </p:nvSpPr>
          <p:spPr bwMode="auto">
            <a:xfrm>
              <a:off x="5299075" y="-3189288"/>
              <a:ext cx="1341438" cy="823913"/>
            </a:xfrm>
            <a:custGeom>
              <a:avLst/>
              <a:gdLst>
                <a:gd name="T0" fmla="*/ 829 w 829"/>
                <a:gd name="T1" fmla="*/ 196 h 509"/>
                <a:gd name="T2" fmla="*/ 829 w 829"/>
                <a:gd name="T3" fmla="*/ 196 h 509"/>
                <a:gd name="T4" fmla="*/ 489 w 829"/>
                <a:gd name="T5" fmla="*/ 0 h 509"/>
                <a:gd name="T6" fmla="*/ 423 w 829"/>
                <a:gd name="T7" fmla="*/ 148 h 509"/>
                <a:gd name="T8" fmla="*/ 102 w 829"/>
                <a:gd name="T9" fmla="*/ 14 h 509"/>
                <a:gd name="T10" fmla="*/ 0 w 829"/>
                <a:gd name="T11" fmla="*/ 26 h 509"/>
                <a:gd name="T12" fmla="*/ 0 w 829"/>
                <a:gd name="T13" fmla="*/ 31 h 509"/>
                <a:gd name="T14" fmla="*/ 829 w 829"/>
                <a:gd name="T15" fmla="*/ 509 h 509"/>
                <a:gd name="T16" fmla="*/ 829 w 829"/>
                <a:gd name="T17" fmla="*/ 509 h 509"/>
                <a:gd name="T18" fmla="*/ 829 w 829"/>
                <a:gd name="T19" fmla="*/ 196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9" h="509">
                  <a:moveTo>
                    <a:pt x="829" y="196"/>
                  </a:moveTo>
                  <a:cubicBezTo>
                    <a:pt x="829" y="196"/>
                    <a:pt x="829" y="196"/>
                    <a:pt x="829" y="196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61" y="46"/>
                    <a:pt x="439" y="96"/>
                    <a:pt x="423" y="148"/>
                  </a:cubicBezTo>
                  <a:cubicBezTo>
                    <a:pt x="341" y="66"/>
                    <a:pt x="229" y="14"/>
                    <a:pt x="102" y="14"/>
                  </a:cubicBezTo>
                  <a:cubicBezTo>
                    <a:pt x="67" y="14"/>
                    <a:pt x="33" y="18"/>
                    <a:pt x="0" y="2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829" y="509"/>
                    <a:pt x="829" y="509"/>
                    <a:pt x="829" y="509"/>
                  </a:cubicBezTo>
                  <a:cubicBezTo>
                    <a:pt x="829" y="509"/>
                    <a:pt x="829" y="509"/>
                    <a:pt x="829" y="509"/>
                  </a:cubicBezTo>
                  <a:lnTo>
                    <a:pt x="829" y="196"/>
                  </a:lnTo>
                  <a:close/>
                </a:path>
              </a:pathLst>
            </a:custGeom>
            <a:solidFill>
              <a:srgbClr val="A0E6F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5" name="Freeform 133"/>
            <p:cNvSpPr>
              <a:spLocks/>
            </p:cNvSpPr>
            <p:nvPr userDrawn="1"/>
          </p:nvSpPr>
          <p:spPr bwMode="auto">
            <a:xfrm>
              <a:off x="6199188" y="-5461000"/>
              <a:ext cx="885825" cy="509588"/>
            </a:xfrm>
            <a:custGeom>
              <a:avLst/>
              <a:gdLst>
                <a:gd name="T0" fmla="*/ 558 w 558"/>
                <a:gd name="T1" fmla="*/ 161 h 321"/>
                <a:gd name="T2" fmla="*/ 278 w 558"/>
                <a:gd name="T3" fmla="*/ 0 h 321"/>
                <a:gd name="T4" fmla="*/ 0 w 558"/>
                <a:gd name="T5" fmla="*/ 160 h 321"/>
                <a:gd name="T6" fmla="*/ 276 w 558"/>
                <a:gd name="T7" fmla="*/ 320 h 321"/>
                <a:gd name="T8" fmla="*/ 278 w 558"/>
                <a:gd name="T9" fmla="*/ 319 h 321"/>
                <a:gd name="T10" fmla="*/ 282 w 558"/>
                <a:gd name="T11" fmla="*/ 321 h 321"/>
                <a:gd name="T12" fmla="*/ 558 w 558"/>
                <a:gd name="T13" fmla="*/ 16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8" h="321">
                  <a:moveTo>
                    <a:pt x="558" y="161"/>
                  </a:moveTo>
                  <a:lnTo>
                    <a:pt x="278" y="0"/>
                  </a:lnTo>
                  <a:lnTo>
                    <a:pt x="0" y="160"/>
                  </a:lnTo>
                  <a:lnTo>
                    <a:pt x="276" y="320"/>
                  </a:lnTo>
                  <a:lnTo>
                    <a:pt x="278" y="319"/>
                  </a:lnTo>
                  <a:lnTo>
                    <a:pt x="282" y="321"/>
                  </a:lnTo>
                  <a:lnTo>
                    <a:pt x="558" y="161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6" name="Freeform 134"/>
            <p:cNvSpPr>
              <a:spLocks/>
            </p:cNvSpPr>
            <p:nvPr userDrawn="1"/>
          </p:nvSpPr>
          <p:spPr bwMode="auto">
            <a:xfrm>
              <a:off x="5299075" y="-6505575"/>
              <a:ext cx="2684463" cy="3097213"/>
            </a:xfrm>
            <a:custGeom>
              <a:avLst/>
              <a:gdLst>
                <a:gd name="T0" fmla="*/ 1691 w 1691"/>
                <a:gd name="T1" fmla="*/ 488 h 1951"/>
                <a:gd name="T2" fmla="*/ 845 w 1691"/>
                <a:gd name="T3" fmla="*/ 0 h 1951"/>
                <a:gd name="T4" fmla="*/ 0 w 1691"/>
                <a:gd name="T5" fmla="*/ 488 h 1951"/>
                <a:gd name="T6" fmla="*/ 0 w 1691"/>
                <a:gd name="T7" fmla="*/ 1463 h 1951"/>
                <a:gd name="T8" fmla="*/ 845 w 1691"/>
                <a:gd name="T9" fmla="*/ 1951 h 1951"/>
                <a:gd name="T10" fmla="*/ 845 w 1691"/>
                <a:gd name="T11" fmla="*/ 1951 h 1951"/>
                <a:gd name="T12" fmla="*/ 845 w 1691"/>
                <a:gd name="T13" fmla="*/ 1632 h 1951"/>
                <a:gd name="T14" fmla="*/ 845 w 1691"/>
                <a:gd name="T15" fmla="*/ 1632 h 1951"/>
                <a:gd name="T16" fmla="*/ 276 w 1691"/>
                <a:gd name="T17" fmla="*/ 1304 h 1951"/>
                <a:gd name="T18" fmla="*/ 276 w 1691"/>
                <a:gd name="T19" fmla="*/ 647 h 1951"/>
                <a:gd name="T20" fmla="*/ 845 w 1691"/>
                <a:gd name="T21" fmla="*/ 319 h 1951"/>
                <a:gd name="T22" fmla="*/ 1414 w 1691"/>
                <a:gd name="T23" fmla="*/ 647 h 1951"/>
                <a:gd name="T24" fmla="*/ 1414 w 1691"/>
                <a:gd name="T25" fmla="*/ 649 h 1951"/>
                <a:gd name="T26" fmla="*/ 845 w 1691"/>
                <a:gd name="T27" fmla="*/ 982 h 1951"/>
                <a:gd name="T28" fmla="*/ 845 w 1691"/>
                <a:gd name="T29" fmla="*/ 1632 h 1951"/>
                <a:gd name="T30" fmla="*/ 1691 w 1691"/>
                <a:gd name="T31" fmla="*/ 1137 h 1951"/>
                <a:gd name="T32" fmla="*/ 1691 w 1691"/>
                <a:gd name="T33" fmla="*/ 488 h 1951"/>
                <a:gd name="T34" fmla="*/ 1691 w 1691"/>
                <a:gd name="T35" fmla="*/ 488 h 19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91" h="1951">
                  <a:moveTo>
                    <a:pt x="1691" y="488"/>
                  </a:moveTo>
                  <a:lnTo>
                    <a:pt x="845" y="0"/>
                  </a:lnTo>
                  <a:lnTo>
                    <a:pt x="0" y="488"/>
                  </a:lnTo>
                  <a:lnTo>
                    <a:pt x="0" y="1463"/>
                  </a:lnTo>
                  <a:lnTo>
                    <a:pt x="845" y="1951"/>
                  </a:lnTo>
                  <a:lnTo>
                    <a:pt x="845" y="1951"/>
                  </a:lnTo>
                  <a:lnTo>
                    <a:pt x="845" y="1632"/>
                  </a:lnTo>
                  <a:lnTo>
                    <a:pt x="845" y="1632"/>
                  </a:lnTo>
                  <a:lnTo>
                    <a:pt x="276" y="1304"/>
                  </a:lnTo>
                  <a:lnTo>
                    <a:pt x="276" y="647"/>
                  </a:lnTo>
                  <a:lnTo>
                    <a:pt x="845" y="319"/>
                  </a:lnTo>
                  <a:lnTo>
                    <a:pt x="1414" y="647"/>
                  </a:lnTo>
                  <a:lnTo>
                    <a:pt x="1414" y="649"/>
                  </a:lnTo>
                  <a:lnTo>
                    <a:pt x="845" y="982"/>
                  </a:lnTo>
                  <a:lnTo>
                    <a:pt x="845" y="1632"/>
                  </a:lnTo>
                  <a:lnTo>
                    <a:pt x="1691" y="1137"/>
                  </a:lnTo>
                  <a:lnTo>
                    <a:pt x="1691" y="488"/>
                  </a:lnTo>
                  <a:lnTo>
                    <a:pt x="1691" y="488"/>
                  </a:lnTo>
                  <a:close/>
                </a:path>
              </a:pathLst>
            </a:custGeom>
            <a:solidFill>
              <a:srgbClr val="00205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7" name="Freeform 135"/>
            <p:cNvSpPr>
              <a:spLocks/>
            </p:cNvSpPr>
            <p:nvPr userDrawn="1"/>
          </p:nvSpPr>
          <p:spPr bwMode="auto">
            <a:xfrm>
              <a:off x="6640513" y="-4712993"/>
              <a:ext cx="1343025" cy="1304630"/>
            </a:xfrm>
            <a:custGeom>
              <a:avLst/>
              <a:gdLst>
                <a:gd name="T0" fmla="*/ 0 w 846"/>
                <a:gd name="T1" fmla="*/ 814 h 814"/>
                <a:gd name="T2" fmla="*/ 0 w 846"/>
                <a:gd name="T3" fmla="*/ 814 h 814"/>
                <a:gd name="T4" fmla="*/ 846 w 846"/>
                <a:gd name="T5" fmla="*/ 326 h 814"/>
                <a:gd name="T6" fmla="*/ 846 w 846"/>
                <a:gd name="T7" fmla="*/ 0 h 814"/>
                <a:gd name="T8" fmla="*/ 0 w 846"/>
                <a:gd name="T9" fmla="*/ 495 h 814"/>
                <a:gd name="T10" fmla="*/ 0 w 846"/>
                <a:gd name="T11" fmla="*/ 814 h 814"/>
                <a:gd name="connsiteX0" fmla="*/ 0 w 10000"/>
                <a:gd name="connsiteY0" fmla="*/ 10096 h 10096"/>
                <a:gd name="connsiteX1" fmla="*/ 0 w 10000"/>
                <a:gd name="connsiteY1" fmla="*/ 10096 h 10096"/>
                <a:gd name="connsiteX2" fmla="*/ 10000 w 10000"/>
                <a:gd name="connsiteY2" fmla="*/ 4101 h 10096"/>
                <a:gd name="connsiteX3" fmla="*/ 10000 w 10000"/>
                <a:gd name="connsiteY3" fmla="*/ 0 h 10096"/>
                <a:gd name="connsiteX4" fmla="*/ 0 w 10000"/>
                <a:gd name="connsiteY4" fmla="*/ 6177 h 10096"/>
                <a:gd name="connsiteX5" fmla="*/ 0 w 10000"/>
                <a:gd name="connsiteY5" fmla="*/ 10096 h 1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00" h="10096">
                  <a:moveTo>
                    <a:pt x="0" y="10096"/>
                  </a:moveTo>
                  <a:lnTo>
                    <a:pt x="0" y="10096"/>
                  </a:lnTo>
                  <a:lnTo>
                    <a:pt x="10000" y="4101"/>
                  </a:lnTo>
                  <a:lnTo>
                    <a:pt x="10000" y="0"/>
                  </a:lnTo>
                  <a:lnTo>
                    <a:pt x="0" y="6177"/>
                  </a:lnTo>
                  <a:lnTo>
                    <a:pt x="0" y="10096"/>
                  </a:lnTo>
                  <a:close/>
                </a:path>
              </a:pathLst>
            </a:custGeom>
            <a:solidFill>
              <a:srgbClr val="7B7B7B"/>
            </a:solidFill>
            <a:ln w="9525">
              <a:solidFill>
                <a:srgbClr val="7B7B7B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6" name="Freeform 144"/>
            <p:cNvSpPr>
              <a:spLocks/>
            </p:cNvSpPr>
            <p:nvPr userDrawn="1"/>
          </p:nvSpPr>
          <p:spPr bwMode="auto">
            <a:xfrm>
              <a:off x="6091238" y="-3529013"/>
              <a:ext cx="549275" cy="657225"/>
            </a:xfrm>
            <a:custGeom>
              <a:avLst/>
              <a:gdLst>
                <a:gd name="T0" fmla="*/ 339 w 339"/>
                <a:gd name="T1" fmla="*/ 407 h 407"/>
                <a:gd name="T2" fmla="*/ 339 w 339"/>
                <a:gd name="T3" fmla="*/ 75 h 407"/>
                <a:gd name="T4" fmla="*/ 339 w 339"/>
                <a:gd name="T5" fmla="*/ 75 h 407"/>
                <a:gd name="T6" fmla="*/ 210 w 339"/>
                <a:gd name="T7" fmla="*/ 0 h 407"/>
                <a:gd name="T8" fmla="*/ 0 w 339"/>
                <a:gd name="T9" fmla="*/ 212 h 407"/>
                <a:gd name="T10" fmla="*/ 339 w 339"/>
                <a:gd name="T11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9" h="407">
                  <a:moveTo>
                    <a:pt x="339" y="407"/>
                  </a:moveTo>
                  <a:cubicBezTo>
                    <a:pt x="339" y="75"/>
                    <a:pt x="339" y="75"/>
                    <a:pt x="339" y="75"/>
                  </a:cubicBezTo>
                  <a:cubicBezTo>
                    <a:pt x="339" y="75"/>
                    <a:pt x="339" y="75"/>
                    <a:pt x="339" y="75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111" y="61"/>
                    <a:pt x="18" y="187"/>
                    <a:pt x="0" y="212"/>
                  </a:cubicBezTo>
                  <a:cubicBezTo>
                    <a:pt x="339" y="407"/>
                    <a:pt x="339" y="407"/>
                    <a:pt x="339" y="40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7" name="Freeform 145"/>
            <p:cNvSpPr>
              <a:spLocks/>
            </p:cNvSpPr>
            <p:nvPr userDrawn="1"/>
          </p:nvSpPr>
          <p:spPr bwMode="auto">
            <a:xfrm>
              <a:off x="6083300" y="-3189288"/>
              <a:ext cx="7938" cy="11113"/>
            </a:xfrm>
            <a:custGeom>
              <a:avLst/>
              <a:gdLst>
                <a:gd name="T0" fmla="*/ 5 w 5"/>
                <a:gd name="T1" fmla="*/ 1 h 6"/>
                <a:gd name="T2" fmla="*/ 4 w 5"/>
                <a:gd name="T3" fmla="*/ 0 h 6"/>
                <a:gd name="T4" fmla="*/ 5 w 5"/>
                <a:gd name="T5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6">
                  <a:moveTo>
                    <a:pt x="5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6"/>
                    <a:pt x="1" y="6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8" name="Freeform 146"/>
            <p:cNvSpPr>
              <a:spLocks/>
            </p:cNvSpPr>
            <p:nvPr userDrawn="1"/>
          </p:nvSpPr>
          <p:spPr bwMode="auto">
            <a:xfrm>
              <a:off x="3657600" y="-3146425"/>
              <a:ext cx="4872038" cy="1436688"/>
            </a:xfrm>
            <a:custGeom>
              <a:avLst/>
              <a:gdLst>
                <a:gd name="T0" fmla="*/ 2686 w 3008"/>
                <a:gd name="T1" fmla="*/ 249 h 888"/>
                <a:gd name="T2" fmla="*/ 2634 w 3008"/>
                <a:gd name="T3" fmla="*/ 249 h 888"/>
                <a:gd name="T4" fmla="*/ 2590 w 3008"/>
                <a:gd name="T5" fmla="*/ 49 h 888"/>
                <a:gd name="T6" fmla="*/ 1842 w 3008"/>
                <a:gd name="T7" fmla="*/ 486 h 888"/>
                <a:gd name="T8" fmla="*/ 1842 w 3008"/>
                <a:gd name="T9" fmla="*/ 483 h 888"/>
                <a:gd name="T10" fmla="*/ 1842 w 3008"/>
                <a:gd name="T11" fmla="*/ 483 h 888"/>
                <a:gd name="T12" fmla="*/ 1013 w 3008"/>
                <a:gd name="T13" fmla="*/ 5 h 888"/>
                <a:gd name="T14" fmla="*/ 1013 w 3008"/>
                <a:gd name="T15" fmla="*/ 0 h 888"/>
                <a:gd name="T16" fmla="*/ 1012 w 3008"/>
                <a:gd name="T17" fmla="*/ 0 h 888"/>
                <a:gd name="T18" fmla="*/ 666 w 3008"/>
                <a:gd name="T19" fmla="*/ 397 h 888"/>
                <a:gd name="T20" fmla="*/ 456 w 3008"/>
                <a:gd name="T21" fmla="*/ 494 h 888"/>
                <a:gd name="T22" fmla="*/ 254 w 3008"/>
                <a:gd name="T23" fmla="*/ 390 h 888"/>
                <a:gd name="T24" fmla="*/ 0 w 3008"/>
                <a:gd name="T25" fmla="*/ 635 h 888"/>
                <a:gd name="T26" fmla="*/ 254 w 3008"/>
                <a:gd name="T27" fmla="*/ 888 h 888"/>
                <a:gd name="T28" fmla="*/ 321 w 3008"/>
                <a:gd name="T29" fmla="*/ 888 h 888"/>
                <a:gd name="T30" fmla="*/ 1145 w 3008"/>
                <a:gd name="T31" fmla="*/ 888 h 888"/>
                <a:gd name="T32" fmla="*/ 1601 w 3008"/>
                <a:gd name="T33" fmla="*/ 888 h 888"/>
                <a:gd name="T34" fmla="*/ 2709 w 3008"/>
                <a:gd name="T35" fmla="*/ 888 h 888"/>
                <a:gd name="T36" fmla="*/ 3008 w 3008"/>
                <a:gd name="T37" fmla="*/ 568 h 888"/>
                <a:gd name="T38" fmla="*/ 2686 w 3008"/>
                <a:gd name="T39" fmla="*/ 249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08" h="888">
                  <a:moveTo>
                    <a:pt x="2686" y="249"/>
                  </a:moveTo>
                  <a:cubicBezTo>
                    <a:pt x="2671" y="249"/>
                    <a:pt x="2656" y="249"/>
                    <a:pt x="2634" y="249"/>
                  </a:cubicBezTo>
                  <a:cubicBezTo>
                    <a:pt x="2631" y="178"/>
                    <a:pt x="2615" y="111"/>
                    <a:pt x="2590" y="49"/>
                  </a:cubicBezTo>
                  <a:cubicBezTo>
                    <a:pt x="1842" y="486"/>
                    <a:pt x="1842" y="486"/>
                    <a:pt x="1842" y="486"/>
                  </a:cubicBezTo>
                  <a:cubicBezTo>
                    <a:pt x="1842" y="483"/>
                    <a:pt x="1842" y="483"/>
                    <a:pt x="1842" y="483"/>
                  </a:cubicBezTo>
                  <a:cubicBezTo>
                    <a:pt x="1842" y="483"/>
                    <a:pt x="1842" y="483"/>
                    <a:pt x="1842" y="483"/>
                  </a:cubicBezTo>
                  <a:cubicBezTo>
                    <a:pt x="1013" y="5"/>
                    <a:pt x="1013" y="5"/>
                    <a:pt x="1013" y="5"/>
                  </a:cubicBezTo>
                  <a:cubicBezTo>
                    <a:pt x="1013" y="0"/>
                    <a:pt x="1013" y="0"/>
                    <a:pt x="1013" y="0"/>
                  </a:cubicBezTo>
                  <a:cubicBezTo>
                    <a:pt x="1012" y="0"/>
                    <a:pt x="1012" y="0"/>
                    <a:pt x="1012" y="0"/>
                  </a:cubicBezTo>
                  <a:cubicBezTo>
                    <a:pt x="827" y="44"/>
                    <a:pt x="685" y="202"/>
                    <a:pt x="666" y="397"/>
                  </a:cubicBezTo>
                  <a:cubicBezTo>
                    <a:pt x="591" y="405"/>
                    <a:pt x="516" y="442"/>
                    <a:pt x="456" y="494"/>
                  </a:cubicBezTo>
                  <a:cubicBezTo>
                    <a:pt x="411" y="427"/>
                    <a:pt x="336" y="390"/>
                    <a:pt x="254" y="390"/>
                  </a:cubicBezTo>
                  <a:cubicBezTo>
                    <a:pt x="112" y="390"/>
                    <a:pt x="0" y="501"/>
                    <a:pt x="0" y="635"/>
                  </a:cubicBezTo>
                  <a:cubicBezTo>
                    <a:pt x="0" y="776"/>
                    <a:pt x="112" y="888"/>
                    <a:pt x="254" y="888"/>
                  </a:cubicBezTo>
                  <a:cubicBezTo>
                    <a:pt x="321" y="888"/>
                    <a:pt x="321" y="888"/>
                    <a:pt x="321" y="888"/>
                  </a:cubicBezTo>
                  <a:cubicBezTo>
                    <a:pt x="1145" y="888"/>
                    <a:pt x="1145" y="888"/>
                    <a:pt x="1145" y="888"/>
                  </a:cubicBezTo>
                  <a:cubicBezTo>
                    <a:pt x="1601" y="888"/>
                    <a:pt x="1601" y="888"/>
                    <a:pt x="1601" y="888"/>
                  </a:cubicBezTo>
                  <a:cubicBezTo>
                    <a:pt x="2709" y="888"/>
                    <a:pt x="2709" y="888"/>
                    <a:pt x="2709" y="888"/>
                  </a:cubicBezTo>
                  <a:cubicBezTo>
                    <a:pt x="2873" y="873"/>
                    <a:pt x="3008" y="739"/>
                    <a:pt x="3008" y="568"/>
                  </a:cubicBezTo>
                  <a:cubicBezTo>
                    <a:pt x="3008" y="390"/>
                    <a:pt x="2866" y="249"/>
                    <a:pt x="2686" y="24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81" name="Group 80"/>
          <p:cNvGrpSpPr/>
          <p:nvPr userDrawn="1"/>
        </p:nvGrpSpPr>
        <p:grpSpPr>
          <a:xfrm>
            <a:off x="8070936" y="6101534"/>
            <a:ext cx="445100" cy="689535"/>
            <a:chOff x="7259638" y="4756151"/>
            <a:chExt cx="454025" cy="703262"/>
          </a:xfrm>
        </p:grpSpPr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7410450" y="4933951"/>
              <a:ext cx="152400" cy="87313"/>
            </a:xfrm>
            <a:custGeom>
              <a:avLst/>
              <a:gdLst>
                <a:gd name="T0" fmla="*/ 96 w 96"/>
                <a:gd name="T1" fmla="*/ 27 h 55"/>
                <a:gd name="T2" fmla="*/ 47 w 96"/>
                <a:gd name="T3" fmla="*/ 0 h 55"/>
                <a:gd name="T4" fmla="*/ 0 w 96"/>
                <a:gd name="T5" fmla="*/ 27 h 55"/>
                <a:gd name="T6" fmla="*/ 48 w 96"/>
                <a:gd name="T7" fmla="*/ 55 h 55"/>
                <a:gd name="T8" fmla="*/ 96 w 96"/>
                <a:gd name="T9" fmla="*/ 2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55">
                  <a:moveTo>
                    <a:pt x="96" y="27"/>
                  </a:moveTo>
                  <a:lnTo>
                    <a:pt x="47" y="0"/>
                  </a:lnTo>
                  <a:lnTo>
                    <a:pt x="0" y="27"/>
                  </a:lnTo>
                  <a:lnTo>
                    <a:pt x="48" y="55"/>
                  </a:lnTo>
                  <a:lnTo>
                    <a:pt x="96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7486650" y="4887913"/>
              <a:ext cx="227013" cy="307975"/>
            </a:xfrm>
            <a:custGeom>
              <a:avLst/>
              <a:gdLst>
                <a:gd name="T0" fmla="*/ 0 w 143"/>
                <a:gd name="T1" fmla="*/ 194 h 194"/>
                <a:gd name="T2" fmla="*/ 143 w 143"/>
                <a:gd name="T3" fmla="*/ 110 h 194"/>
                <a:gd name="T4" fmla="*/ 143 w 143"/>
                <a:gd name="T5" fmla="*/ 0 h 194"/>
                <a:gd name="T6" fmla="*/ 0 w 143"/>
                <a:gd name="T7" fmla="*/ 84 h 194"/>
                <a:gd name="T8" fmla="*/ 0 w 143"/>
                <a:gd name="T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94">
                  <a:moveTo>
                    <a:pt x="0" y="194"/>
                  </a:moveTo>
                  <a:lnTo>
                    <a:pt x="143" y="110"/>
                  </a:lnTo>
                  <a:lnTo>
                    <a:pt x="143" y="0"/>
                  </a:lnTo>
                  <a:lnTo>
                    <a:pt x="0" y="8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7332663" y="4930776"/>
              <a:ext cx="153988" cy="266700"/>
            </a:xfrm>
            <a:custGeom>
              <a:avLst/>
              <a:gdLst>
                <a:gd name="T0" fmla="*/ 97 w 97"/>
                <a:gd name="T1" fmla="*/ 168 h 168"/>
                <a:gd name="T2" fmla="*/ 0 w 97"/>
                <a:gd name="T3" fmla="*/ 112 h 168"/>
                <a:gd name="T4" fmla="*/ 0 w 97"/>
                <a:gd name="T5" fmla="*/ 0 h 168"/>
                <a:gd name="T6" fmla="*/ 97 w 97"/>
                <a:gd name="T7" fmla="*/ 57 h 168"/>
                <a:gd name="T8" fmla="*/ 97 w 97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68">
                  <a:moveTo>
                    <a:pt x="97" y="168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97" y="57"/>
                  </a:lnTo>
                  <a:lnTo>
                    <a:pt x="97" y="168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7259638" y="5149851"/>
              <a:ext cx="133350" cy="209550"/>
            </a:xfrm>
            <a:custGeom>
              <a:avLst/>
              <a:gdLst>
                <a:gd name="T0" fmla="*/ 45 w 82"/>
                <a:gd name="T1" fmla="*/ 27 h 130"/>
                <a:gd name="T2" fmla="*/ 0 w 82"/>
                <a:gd name="T3" fmla="*/ 0 h 130"/>
                <a:gd name="T4" fmla="*/ 0 w 82"/>
                <a:gd name="T5" fmla="*/ 109 h 130"/>
                <a:gd name="T6" fmla="*/ 17 w 82"/>
                <a:gd name="T7" fmla="*/ 107 h 130"/>
                <a:gd name="T8" fmla="*/ 71 w 82"/>
                <a:gd name="T9" fmla="*/ 130 h 130"/>
                <a:gd name="T10" fmla="*/ 82 w 82"/>
                <a:gd name="T11" fmla="*/ 105 h 130"/>
                <a:gd name="T12" fmla="*/ 45 w 82"/>
                <a:gd name="T13" fmla="*/ 83 h 130"/>
                <a:gd name="T14" fmla="*/ 45 w 82"/>
                <a:gd name="T15" fmla="*/ 27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0">
                  <a:moveTo>
                    <a:pt x="45" y="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5" y="108"/>
                    <a:pt x="11" y="107"/>
                    <a:pt x="17" y="107"/>
                  </a:cubicBezTo>
                  <a:cubicBezTo>
                    <a:pt x="38" y="107"/>
                    <a:pt x="57" y="116"/>
                    <a:pt x="71" y="130"/>
                  </a:cubicBezTo>
                  <a:cubicBezTo>
                    <a:pt x="74" y="121"/>
                    <a:pt x="78" y="112"/>
                    <a:pt x="82" y="105"/>
                  </a:cubicBezTo>
                  <a:cubicBezTo>
                    <a:pt x="45" y="83"/>
                    <a:pt x="45" y="83"/>
                    <a:pt x="45" y="83"/>
                  </a:cubicBezTo>
                  <a:lnTo>
                    <a:pt x="45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7486650" y="5062538"/>
              <a:ext cx="227013" cy="217488"/>
            </a:xfrm>
            <a:custGeom>
              <a:avLst/>
              <a:gdLst>
                <a:gd name="T0" fmla="*/ 0 w 143"/>
                <a:gd name="T1" fmla="*/ 137 h 137"/>
                <a:gd name="T2" fmla="*/ 143 w 143"/>
                <a:gd name="T3" fmla="*/ 55 h 137"/>
                <a:gd name="T4" fmla="*/ 143 w 143"/>
                <a:gd name="T5" fmla="*/ 0 h 137"/>
                <a:gd name="T6" fmla="*/ 0 w 143"/>
                <a:gd name="T7" fmla="*/ 85 h 137"/>
                <a:gd name="T8" fmla="*/ 0 w 143"/>
                <a:gd name="T9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37">
                  <a:moveTo>
                    <a:pt x="0" y="137"/>
                  </a:moveTo>
                  <a:lnTo>
                    <a:pt x="143" y="55"/>
                  </a:lnTo>
                  <a:lnTo>
                    <a:pt x="143" y="0"/>
                  </a:lnTo>
                  <a:lnTo>
                    <a:pt x="0" y="85"/>
                  </a:lnTo>
                  <a:lnTo>
                    <a:pt x="0" y="137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7486650" y="5148263"/>
              <a:ext cx="227013" cy="311150"/>
            </a:xfrm>
            <a:custGeom>
              <a:avLst/>
              <a:gdLst>
                <a:gd name="T0" fmla="*/ 0 w 143"/>
                <a:gd name="T1" fmla="*/ 196 h 196"/>
                <a:gd name="T2" fmla="*/ 143 w 143"/>
                <a:gd name="T3" fmla="*/ 112 h 196"/>
                <a:gd name="T4" fmla="*/ 143 w 143"/>
                <a:gd name="T5" fmla="*/ 0 h 196"/>
                <a:gd name="T6" fmla="*/ 0 w 143"/>
                <a:gd name="T7" fmla="*/ 83 h 196"/>
                <a:gd name="T8" fmla="*/ 0 w 143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96">
                  <a:moveTo>
                    <a:pt x="0" y="196"/>
                  </a:moveTo>
                  <a:lnTo>
                    <a:pt x="143" y="112"/>
                  </a:lnTo>
                  <a:lnTo>
                    <a:pt x="143" y="0"/>
                  </a:lnTo>
                  <a:lnTo>
                    <a:pt x="0" y="83"/>
                  </a:lnTo>
                  <a:lnTo>
                    <a:pt x="0" y="19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0" name="Freeform 16"/>
            <p:cNvSpPr>
              <a:spLocks/>
            </p:cNvSpPr>
            <p:nvPr userDrawn="1"/>
          </p:nvSpPr>
          <p:spPr bwMode="auto">
            <a:xfrm>
              <a:off x="7259638" y="5319713"/>
              <a:ext cx="227013" cy="139700"/>
            </a:xfrm>
            <a:custGeom>
              <a:avLst/>
              <a:gdLst>
                <a:gd name="T0" fmla="*/ 140 w 140"/>
                <a:gd name="T1" fmla="*/ 33 h 86"/>
                <a:gd name="T2" fmla="*/ 140 w 140"/>
                <a:gd name="T3" fmla="*/ 33 h 86"/>
                <a:gd name="T4" fmla="*/ 82 w 140"/>
                <a:gd name="T5" fmla="*/ 0 h 86"/>
                <a:gd name="T6" fmla="*/ 71 w 140"/>
                <a:gd name="T7" fmla="*/ 25 h 86"/>
                <a:gd name="T8" fmla="*/ 17 w 140"/>
                <a:gd name="T9" fmla="*/ 2 h 86"/>
                <a:gd name="T10" fmla="*/ 0 w 140"/>
                <a:gd name="T11" fmla="*/ 4 h 86"/>
                <a:gd name="T12" fmla="*/ 0 w 140"/>
                <a:gd name="T13" fmla="*/ 5 h 86"/>
                <a:gd name="T14" fmla="*/ 140 w 140"/>
                <a:gd name="T15" fmla="*/ 86 h 86"/>
                <a:gd name="T16" fmla="*/ 140 w 140"/>
                <a:gd name="T17" fmla="*/ 86 h 86"/>
                <a:gd name="T18" fmla="*/ 140 w 140"/>
                <a:gd name="T19" fmla="*/ 3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0" h="86">
                  <a:moveTo>
                    <a:pt x="140" y="33"/>
                  </a:moveTo>
                  <a:cubicBezTo>
                    <a:pt x="140" y="33"/>
                    <a:pt x="140" y="33"/>
                    <a:pt x="140" y="3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8" y="7"/>
                    <a:pt x="74" y="16"/>
                    <a:pt x="71" y="25"/>
                  </a:cubicBezTo>
                  <a:cubicBezTo>
                    <a:pt x="57" y="11"/>
                    <a:pt x="38" y="2"/>
                    <a:pt x="17" y="2"/>
                  </a:cubicBezTo>
                  <a:cubicBezTo>
                    <a:pt x="11" y="2"/>
                    <a:pt x="5" y="3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0" y="86"/>
                    <a:pt x="140" y="86"/>
                    <a:pt x="140" y="86"/>
                  </a:cubicBezTo>
                  <a:cubicBezTo>
                    <a:pt x="140" y="86"/>
                    <a:pt x="140" y="86"/>
                    <a:pt x="140" y="86"/>
                  </a:cubicBezTo>
                  <a:lnTo>
                    <a:pt x="140" y="33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auto">
            <a:xfrm>
              <a:off x="7259638" y="4756151"/>
              <a:ext cx="454025" cy="523875"/>
            </a:xfrm>
            <a:custGeom>
              <a:avLst/>
              <a:gdLst>
                <a:gd name="T0" fmla="*/ 143 w 286"/>
                <a:gd name="T1" fmla="*/ 277 h 330"/>
                <a:gd name="T2" fmla="*/ 143 w 286"/>
                <a:gd name="T3" fmla="*/ 277 h 330"/>
                <a:gd name="T4" fmla="*/ 46 w 286"/>
                <a:gd name="T5" fmla="*/ 222 h 330"/>
                <a:gd name="T6" fmla="*/ 46 w 286"/>
                <a:gd name="T7" fmla="*/ 110 h 330"/>
                <a:gd name="T8" fmla="*/ 143 w 286"/>
                <a:gd name="T9" fmla="*/ 54 h 330"/>
                <a:gd name="T10" fmla="*/ 239 w 286"/>
                <a:gd name="T11" fmla="*/ 110 h 330"/>
                <a:gd name="T12" fmla="*/ 239 w 286"/>
                <a:gd name="T13" fmla="*/ 110 h 330"/>
                <a:gd name="T14" fmla="*/ 286 w 286"/>
                <a:gd name="T15" fmla="*/ 83 h 330"/>
                <a:gd name="T16" fmla="*/ 143 w 286"/>
                <a:gd name="T17" fmla="*/ 0 h 330"/>
                <a:gd name="T18" fmla="*/ 0 w 286"/>
                <a:gd name="T19" fmla="*/ 83 h 330"/>
                <a:gd name="T20" fmla="*/ 0 w 286"/>
                <a:gd name="T21" fmla="*/ 248 h 330"/>
                <a:gd name="T22" fmla="*/ 143 w 286"/>
                <a:gd name="T23" fmla="*/ 330 h 330"/>
                <a:gd name="T24" fmla="*/ 143 w 286"/>
                <a:gd name="T25" fmla="*/ 330 h 330"/>
                <a:gd name="T26" fmla="*/ 143 w 286"/>
                <a:gd name="T27" fmla="*/ 27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6" h="330">
                  <a:moveTo>
                    <a:pt x="143" y="277"/>
                  </a:moveTo>
                  <a:lnTo>
                    <a:pt x="143" y="277"/>
                  </a:lnTo>
                  <a:lnTo>
                    <a:pt x="46" y="222"/>
                  </a:lnTo>
                  <a:lnTo>
                    <a:pt x="46" y="110"/>
                  </a:lnTo>
                  <a:lnTo>
                    <a:pt x="143" y="54"/>
                  </a:lnTo>
                  <a:lnTo>
                    <a:pt x="239" y="110"/>
                  </a:lnTo>
                  <a:lnTo>
                    <a:pt x="239" y="110"/>
                  </a:lnTo>
                  <a:lnTo>
                    <a:pt x="286" y="83"/>
                  </a:lnTo>
                  <a:lnTo>
                    <a:pt x="143" y="0"/>
                  </a:lnTo>
                  <a:lnTo>
                    <a:pt x="0" y="83"/>
                  </a:lnTo>
                  <a:lnTo>
                    <a:pt x="0" y="248"/>
                  </a:lnTo>
                  <a:lnTo>
                    <a:pt x="143" y="330"/>
                  </a:lnTo>
                  <a:lnTo>
                    <a:pt x="143" y="330"/>
                  </a:lnTo>
                  <a:lnTo>
                    <a:pt x="143" y="277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639681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42" presetClass="pat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4.5928E-6 -1.32547E-6 L 0.06932 0.00023 " pathEditMode="relative" rAng="0" ptsTypes="AA">
                                      <p:cBhvr>
                                        <p:cTn id="17" dur="1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59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9599E-6 -8.17068E-7 L 0.06931 0.00023 " pathEditMode="relative" rAng="0" ptsTypes="AA">
                                      <p:cBhvr>
                                        <p:cTn id="19" dur="125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59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accel="50000" decel="5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3.2193E-6 -4.82524E-6 L -0.10326 -4.82524E-6 " pathEditMode="relative" rAng="0" ptsTypes="AA">
                                      <p:cBhvr>
                                        <p:cTn id="24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170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99132E-7 -9.30549E-7 L -0.00064 -0.20608 " pathEditMode="relative" rAng="0" ptsTypes="AA">
                                      <p:cBhvr>
                                        <p:cTn id="29" dur="75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-1030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4238E-8 -4.74353E-6 L -0.00064 -0.20608 " pathEditMode="relative" rAng="0" ptsTypes="AA">
                                      <p:cBhvr>
                                        <p:cTn id="34" dur="75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-1030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-7.1228E-7 -4.95234E-6 L 0.00498 -0.21402 " pathEditMode="relative" rAng="0" ptsTypes="AA">
                                      <p:cBhvr>
                                        <p:cTn id="39" dur="75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3" y="-1071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</p:bldLst>
  </p:timing>
  <p:extLst>
    <p:ext uri="{DCECCB84-F9BA-43D5-87BE-67443E8EF086}">
      <p15:sldGuideLst xmlns:p15="http://schemas.microsoft.com/office/powerpoint/2012/main">
        <p15:guide id="1" pos="288">
          <p15:clr>
            <a:srgbClr val="C35EA4"/>
          </p15:clr>
        </p15:guide>
        <p15:guide id="2" pos="7546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orient="horz" pos="4104">
          <p15:clr>
            <a:srgbClr val="C35EA4"/>
          </p15:clr>
        </p15:guide>
        <p15:guide id="5" orient="horz" pos="571">
          <p15:clr>
            <a:srgbClr val="FBAE40"/>
          </p15:clr>
        </p15:guide>
        <p15:guide id="6" pos="415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rgbClr val="0086A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5826698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5826699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39677" y="288560"/>
            <a:ext cx="3585699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Session Code</a:t>
            </a: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97080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  <p:grpSp>
        <p:nvGrpSpPr>
          <p:cNvPr id="58" name="Group 57"/>
          <p:cNvGrpSpPr/>
          <p:nvPr userDrawn="1"/>
        </p:nvGrpSpPr>
        <p:grpSpPr>
          <a:xfrm>
            <a:off x="8982924" y="4569925"/>
            <a:ext cx="501126" cy="772031"/>
            <a:chOff x="8189913" y="3194051"/>
            <a:chExt cx="511175" cy="787400"/>
          </a:xfrm>
        </p:grpSpPr>
        <p:sp>
          <p:nvSpPr>
            <p:cNvPr id="59" name="Freeform 65"/>
            <p:cNvSpPr>
              <a:spLocks/>
            </p:cNvSpPr>
            <p:nvPr userDrawn="1"/>
          </p:nvSpPr>
          <p:spPr bwMode="auto">
            <a:xfrm>
              <a:off x="8361363" y="3390901"/>
              <a:ext cx="169863" cy="96838"/>
            </a:xfrm>
            <a:custGeom>
              <a:avLst/>
              <a:gdLst>
                <a:gd name="T0" fmla="*/ 107 w 107"/>
                <a:gd name="T1" fmla="*/ 30 h 61"/>
                <a:gd name="T2" fmla="*/ 53 w 107"/>
                <a:gd name="T3" fmla="*/ 0 h 61"/>
                <a:gd name="T4" fmla="*/ 0 w 107"/>
                <a:gd name="T5" fmla="*/ 30 h 61"/>
                <a:gd name="T6" fmla="*/ 54 w 107"/>
                <a:gd name="T7" fmla="*/ 61 h 61"/>
                <a:gd name="T8" fmla="*/ 107 w 107"/>
                <a:gd name="T9" fmla="*/ 3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61">
                  <a:moveTo>
                    <a:pt x="107" y="30"/>
                  </a:moveTo>
                  <a:lnTo>
                    <a:pt x="53" y="0"/>
                  </a:lnTo>
                  <a:lnTo>
                    <a:pt x="0" y="30"/>
                  </a:lnTo>
                  <a:lnTo>
                    <a:pt x="54" y="61"/>
                  </a:lnTo>
                  <a:lnTo>
                    <a:pt x="107" y="3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0" name="Freeform 66"/>
            <p:cNvSpPr>
              <a:spLocks/>
            </p:cNvSpPr>
            <p:nvPr userDrawn="1"/>
          </p:nvSpPr>
          <p:spPr bwMode="auto">
            <a:xfrm>
              <a:off x="8447088" y="3340101"/>
              <a:ext cx="254000" cy="344488"/>
            </a:xfrm>
            <a:custGeom>
              <a:avLst/>
              <a:gdLst>
                <a:gd name="T0" fmla="*/ 0 w 160"/>
                <a:gd name="T1" fmla="*/ 217 h 217"/>
                <a:gd name="T2" fmla="*/ 160 w 160"/>
                <a:gd name="T3" fmla="*/ 124 h 217"/>
                <a:gd name="T4" fmla="*/ 160 w 160"/>
                <a:gd name="T5" fmla="*/ 0 h 217"/>
                <a:gd name="T6" fmla="*/ 0 w 160"/>
                <a:gd name="T7" fmla="*/ 93 h 217"/>
                <a:gd name="T8" fmla="*/ 0 w 160"/>
                <a:gd name="T9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217">
                  <a:moveTo>
                    <a:pt x="0" y="217"/>
                  </a:moveTo>
                  <a:lnTo>
                    <a:pt x="160" y="124"/>
                  </a:lnTo>
                  <a:lnTo>
                    <a:pt x="160" y="0"/>
                  </a:lnTo>
                  <a:lnTo>
                    <a:pt x="0" y="93"/>
                  </a:lnTo>
                  <a:lnTo>
                    <a:pt x="0" y="217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1" name="Freeform 67"/>
            <p:cNvSpPr>
              <a:spLocks/>
            </p:cNvSpPr>
            <p:nvPr userDrawn="1"/>
          </p:nvSpPr>
          <p:spPr bwMode="auto">
            <a:xfrm>
              <a:off x="8274050" y="3389313"/>
              <a:ext cx="173038" cy="296863"/>
            </a:xfrm>
            <a:custGeom>
              <a:avLst/>
              <a:gdLst>
                <a:gd name="T0" fmla="*/ 109 w 109"/>
                <a:gd name="T1" fmla="*/ 187 h 187"/>
                <a:gd name="T2" fmla="*/ 0 w 109"/>
                <a:gd name="T3" fmla="*/ 124 h 187"/>
                <a:gd name="T4" fmla="*/ 0 w 109"/>
                <a:gd name="T5" fmla="*/ 0 h 187"/>
                <a:gd name="T6" fmla="*/ 109 w 109"/>
                <a:gd name="T7" fmla="*/ 62 h 187"/>
                <a:gd name="T8" fmla="*/ 109 w 109"/>
                <a:gd name="T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187">
                  <a:moveTo>
                    <a:pt x="109" y="187"/>
                  </a:moveTo>
                  <a:lnTo>
                    <a:pt x="0" y="124"/>
                  </a:lnTo>
                  <a:lnTo>
                    <a:pt x="0" y="0"/>
                  </a:lnTo>
                  <a:lnTo>
                    <a:pt x="109" y="62"/>
                  </a:lnTo>
                  <a:lnTo>
                    <a:pt x="109" y="187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2" name="Freeform 68"/>
            <p:cNvSpPr>
              <a:spLocks/>
            </p:cNvSpPr>
            <p:nvPr userDrawn="1"/>
          </p:nvSpPr>
          <p:spPr bwMode="auto">
            <a:xfrm>
              <a:off x="8189913" y="3635376"/>
              <a:ext cx="150813" cy="233363"/>
            </a:xfrm>
            <a:custGeom>
              <a:avLst/>
              <a:gdLst>
                <a:gd name="T0" fmla="*/ 52 w 93"/>
                <a:gd name="T1" fmla="*/ 30 h 145"/>
                <a:gd name="T2" fmla="*/ 0 w 93"/>
                <a:gd name="T3" fmla="*/ 0 h 145"/>
                <a:gd name="T4" fmla="*/ 0 w 93"/>
                <a:gd name="T5" fmla="*/ 122 h 145"/>
                <a:gd name="T6" fmla="*/ 20 w 93"/>
                <a:gd name="T7" fmla="*/ 119 h 145"/>
                <a:gd name="T8" fmla="*/ 81 w 93"/>
                <a:gd name="T9" fmla="*/ 145 h 145"/>
                <a:gd name="T10" fmla="*/ 93 w 93"/>
                <a:gd name="T11" fmla="*/ 117 h 145"/>
                <a:gd name="T12" fmla="*/ 52 w 93"/>
                <a:gd name="T13" fmla="*/ 93 h 145"/>
                <a:gd name="T14" fmla="*/ 52 w 93"/>
                <a:gd name="T15" fmla="*/ 3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145">
                  <a:moveTo>
                    <a:pt x="52" y="3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7" y="120"/>
                    <a:pt x="13" y="119"/>
                    <a:pt x="20" y="119"/>
                  </a:cubicBezTo>
                  <a:cubicBezTo>
                    <a:pt x="44" y="119"/>
                    <a:pt x="65" y="129"/>
                    <a:pt x="81" y="145"/>
                  </a:cubicBezTo>
                  <a:cubicBezTo>
                    <a:pt x="84" y="135"/>
                    <a:pt x="88" y="125"/>
                    <a:pt x="93" y="117"/>
                  </a:cubicBezTo>
                  <a:cubicBezTo>
                    <a:pt x="52" y="93"/>
                    <a:pt x="52" y="93"/>
                    <a:pt x="52" y="93"/>
                  </a:cubicBezTo>
                  <a:lnTo>
                    <a:pt x="52" y="3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3" name="Freeform 69"/>
            <p:cNvSpPr>
              <a:spLocks/>
            </p:cNvSpPr>
            <p:nvPr userDrawn="1"/>
          </p:nvSpPr>
          <p:spPr bwMode="auto">
            <a:xfrm>
              <a:off x="8447088" y="3536951"/>
              <a:ext cx="254000" cy="244475"/>
            </a:xfrm>
            <a:custGeom>
              <a:avLst/>
              <a:gdLst>
                <a:gd name="T0" fmla="*/ 0 w 160"/>
                <a:gd name="T1" fmla="*/ 154 h 154"/>
                <a:gd name="T2" fmla="*/ 160 w 160"/>
                <a:gd name="T3" fmla="*/ 62 h 154"/>
                <a:gd name="T4" fmla="*/ 160 w 160"/>
                <a:gd name="T5" fmla="*/ 0 h 154"/>
                <a:gd name="T6" fmla="*/ 0 w 160"/>
                <a:gd name="T7" fmla="*/ 94 h 154"/>
                <a:gd name="T8" fmla="*/ 0 w 160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154">
                  <a:moveTo>
                    <a:pt x="0" y="154"/>
                  </a:moveTo>
                  <a:lnTo>
                    <a:pt x="160" y="62"/>
                  </a:lnTo>
                  <a:lnTo>
                    <a:pt x="160" y="0"/>
                  </a:lnTo>
                  <a:lnTo>
                    <a:pt x="0" y="94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4" name="Freeform 70"/>
            <p:cNvSpPr>
              <a:spLocks/>
            </p:cNvSpPr>
            <p:nvPr userDrawn="1"/>
          </p:nvSpPr>
          <p:spPr bwMode="auto">
            <a:xfrm>
              <a:off x="8447088" y="3633788"/>
              <a:ext cx="254000" cy="347663"/>
            </a:xfrm>
            <a:custGeom>
              <a:avLst/>
              <a:gdLst>
                <a:gd name="T0" fmla="*/ 0 w 160"/>
                <a:gd name="T1" fmla="*/ 219 h 219"/>
                <a:gd name="T2" fmla="*/ 160 w 160"/>
                <a:gd name="T3" fmla="*/ 125 h 219"/>
                <a:gd name="T4" fmla="*/ 160 w 160"/>
                <a:gd name="T5" fmla="*/ 0 h 219"/>
                <a:gd name="T6" fmla="*/ 0 w 160"/>
                <a:gd name="T7" fmla="*/ 93 h 219"/>
                <a:gd name="T8" fmla="*/ 0 w 160"/>
                <a:gd name="T9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219">
                  <a:moveTo>
                    <a:pt x="0" y="219"/>
                  </a:moveTo>
                  <a:lnTo>
                    <a:pt x="160" y="125"/>
                  </a:lnTo>
                  <a:lnTo>
                    <a:pt x="160" y="0"/>
                  </a:lnTo>
                  <a:lnTo>
                    <a:pt x="0" y="93"/>
                  </a:lnTo>
                  <a:lnTo>
                    <a:pt x="0" y="21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5" name="Freeform 71"/>
            <p:cNvSpPr>
              <a:spLocks/>
            </p:cNvSpPr>
            <p:nvPr userDrawn="1"/>
          </p:nvSpPr>
          <p:spPr bwMode="auto">
            <a:xfrm>
              <a:off x="8189913" y="3824288"/>
              <a:ext cx="257175" cy="155575"/>
            </a:xfrm>
            <a:custGeom>
              <a:avLst/>
              <a:gdLst>
                <a:gd name="T0" fmla="*/ 158 w 158"/>
                <a:gd name="T1" fmla="*/ 37 h 96"/>
                <a:gd name="T2" fmla="*/ 158 w 158"/>
                <a:gd name="T3" fmla="*/ 37 h 96"/>
                <a:gd name="T4" fmla="*/ 93 w 158"/>
                <a:gd name="T5" fmla="*/ 0 h 96"/>
                <a:gd name="T6" fmla="*/ 81 w 158"/>
                <a:gd name="T7" fmla="*/ 28 h 96"/>
                <a:gd name="T8" fmla="*/ 20 w 158"/>
                <a:gd name="T9" fmla="*/ 2 h 96"/>
                <a:gd name="T10" fmla="*/ 0 w 158"/>
                <a:gd name="T11" fmla="*/ 5 h 96"/>
                <a:gd name="T12" fmla="*/ 0 w 158"/>
                <a:gd name="T13" fmla="*/ 5 h 96"/>
                <a:gd name="T14" fmla="*/ 158 w 158"/>
                <a:gd name="T15" fmla="*/ 96 h 96"/>
                <a:gd name="T16" fmla="*/ 158 w 158"/>
                <a:gd name="T17" fmla="*/ 96 h 96"/>
                <a:gd name="T18" fmla="*/ 158 w 158"/>
                <a:gd name="T19" fmla="*/ 3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96">
                  <a:moveTo>
                    <a:pt x="158" y="37"/>
                  </a:moveTo>
                  <a:cubicBezTo>
                    <a:pt x="158" y="37"/>
                    <a:pt x="158" y="37"/>
                    <a:pt x="158" y="37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88" y="8"/>
                    <a:pt x="84" y="18"/>
                    <a:pt x="81" y="28"/>
                  </a:cubicBezTo>
                  <a:cubicBezTo>
                    <a:pt x="65" y="12"/>
                    <a:pt x="44" y="2"/>
                    <a:pt x="20" y="2"/>
                  </a:cubicBezTo>
                  <a:cubicBezTo>
                    <a:pt x="13" y="2"/>
                    <a:pt x="7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58" y="96"/>
                    <a:pt x="158" y="96"/>
                    <a:pt x="158" y="96"/>
                  </a:cubicBezTo>
                  <a:cubicBezTo>
                    <a:pt x="158" y="96"/>
                    <a:pt x="158" y="96"/>
                    <a:pt x="158" y="96"/>
                  </a:cubicBezTo>
                  <a:lnTo>
                    <a:pt x="158" y="37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6" name="Freeform 72"/>
            <p:cNvSpPr>
              <a:spLocks/>
            </p:cNvSpPr>
            <p:nvPr userDrawn="1"/>
          </p:nvSpPr>
          <p:spPr bwMode="auto">
            <a:xfrm>
              <a:off x="8189913" y="3194051"/>
              <a:ext cx="511175" cy="587375"/>
            </a:xfrm>
            <a:custGeom>
              <a:avLst/>
              <a:gdLst>
                <a:gd name="T0" fmla="*/ 162 w 322"/>
                <a:gd name="T1" fmla="*/ 309 h 370"/>
                <a:gd name="T2" fmla="*/ 162 w 322"/>
                <a:gd name="T3" fmla="*/ 309 h 370"/>
                <a:gd name="T4" fmla="*/ 53 w 322"/>
                <a:gd name="T5" fmla="*/ 247 h 370"/>
                <a:gd name="T6" fmla="*/ 53 w 322"/>
                <a:gd name="T7" fmla="*/ 123 h 370"/>
                <a:gd name="T8" fmla="*/ 162 w 322"/>
                <a:gd name="T9" fmla="*/ 60 h 370"/>
                <a:gd name="T10" fmla="*/ 270 w 322"/>
                <a:gd name="T11" fmla="*/ 123 h 370"/>
                <a:gd name="T12" fmla="*/ 270 w 322"/>
                <a:gd name="T13" fmla="*/ 123 h 370"/>
                <a:gd name="T14" fmla="*/ 322 w 322"/>
                <a:gd name="T15" fmla="*/ 92 h 370"/>
                <a:gd name="T16" fmla="*/ 162 w 322"/>
                <a:gd name="T17" fmla="*/ 0 h 370"/>
                <a:gd name="T18" fmla="*/ 0 w 322"/>
                <a:gd name="T19" fmla="*/ 92 h 370"/>
                <a:gd name="T20" fmla="*/ 0 w 322"/>
                <a:gd name="T21" fmla="*/ 278 h 370"/>
                <a:gd name="T22" fmla="*/ 162 w 322"/>
                <a:gd name="T23" fmla="*/ 370 h 370"/>
                <a:gd name="T24" fmla="*/ 162 w 322"/>
                <a:gd name="T25" fmla="*/ 370 h 370"/>
                <a:gd name="T26" fmla="*/ 162 w 322"/>
                <a:gd name="T27" fmla="*/ 309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370">
                  <a:moveTo>
                    <a:pt x="162" y="309"/>
                  </a:moveTo>
                  <a:lnTo>
                    <a:pt x="162" y="309"/>
                  </a:lnTo>
                  <a:lnTo>
                    <a:pt x="53" y="247"/>
                  </a:lnTo>
                  <a:lnTo>
                    <a:pt x="53" y="123"/>
                  </a:lnTo>
                  <a:lnTo>
                    <a:pt x="162" y="60"/>
                  </a:lnTo>
                  <a:lnTo>
                    <a:pt x="270" y="123"/>
                  </a:lnTo>
                  <a:lnTo>
                    <a:pt x="270" y="123"/>
                  </a:lnTo>
                  <a:lnTo>
                    <a:pt x="322" y="92"/>
                  </a:lnTo>
                  <a:lnTo>
                    <a:pt x="162" y="0"/>
                  </a:lnTo>
                  <a:lnTo>
                    <a:pt x="0" y="92"/>
                  </a:lnTo>
                  <a:lnTo>
                    <a:pt x="0" y="278"/>
                  </a:lnTo>
                  <a:lnTo>
                    <a:pt x="162" y="370"/>
                  </a:lnTo>
                  <a:lnTo>
                    <a:pt x="162" y="370"/>
                  </a:lnTo>
                  <a:lnTo>
                    <a:pt x="162" y="30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67" name="Group 66"/>
          <p:cNvGrpSpPr/>
          <p:nvPr userDrawn="1"/>
        </p:nvGrpSpPr>
        <p:grpSpPr>
          <a:xfrm>
            <a:off x="5434576" y="4734915"/>
            <a:ext cx="449769" cy="695761"/>
            <a:chOff x="4570413" y="3209926"/>
            <a:chExt cx="458788" cy="709612"/>
          </a:xfrm>
        </p:grpSpPr>
        <p:sp>
          <p:nvSpPr>
            <p:cNvPr id="68" name="Freeform 21"/>
            <p:cNvSpPr>
              <a:spLocks/>
            </p:cNvSpPr>
            <p:nvPr userDrawn="1"/>
          </p:nvSpPr>
          <p:spPr bwMode="auto">
            <a:xfrm>
              <a:off x="4721225" y="3386138"/>
              <a:ext cx="153988" cy="88900"/>
            </a:xfrm>
            <a:custGeom>
              <a:avLst/>
              <a:gdLst>
                <a:gd name="T0" fmla="*/ 97 w 97"/>
                <a:gd name="T1" fmla="*/ 28 h 56"/>
                <a:gd name="T2" fmla="*/ 49 w 97"/>
                <a:gd name="T3" fmla="*/ 0 h 56"/>
                <a:gd name="T4" fmla="*/ 0 w 97"/>
                <a:gd name="T5" fmla="*/ 28 h 56"/>
                <a:gd name="T6" fmla="*/ 49 w 97"/>
                <a:gd name="T7" fmla="*/ 56 h 56"/>
                <a:gd name="T8" fmla="*/ 97 w 97"/>
                <a:gd name="T9" fmla="*/ 2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56">
                  <a:moveTo>
                    <a:pt x="97" y="28"/>
                  </a:moveTo>
                  <a:lnTo>
                    <a:pt x="49" y="0"/>
                  </a:lnTo>
                  <a:lnTo>
                    <a:pt x="0" y="28"/>
                  </a:lnTo>
                  <a:lnTo>
                    <a:pt x="49" y="56"/>
                  </a:lnTo>
                  <a:lnTo>
                    <a:pt x="97" y="28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9" name="Freeform 22"/>
            <p:cNvSpPr>
              <a:spLocks/>
            </p:cNvSpPr>
            <p:nvPr userDrawn="1"/>
          </p:nvSpPr>
          <p:spPr bwMode="auto">
            <a:xfrm>
              <a:off x="4799013" y="3341688"/>
              <a:ext cx="230188" cy="311150"/>
            </a:xfrm>
            <a:custGeom>
              <a:avLst/>
              <a:gdLst>
                <a:gd name="T0" fmla="*/ 0 w 145"/>
                <a:gd name="T1" fmla="*/ 196 h 196"/>
                <a:gd name="T2" fmla="*/ 145 w 145"/>
                <a:gd name="T3" fmla="*/ 111 h 196"/>
                <a:gd name="T4" fmla="*/ 145 w 145"/>
                <a:gd name="T5" fmla="*/ 0 h 196"/>
                <a:gd name="T6" fmla="*/ 0 w 145"/>
                <a:gd name="T7" fmla="*/ 84 h 196"/>
                <a:gd name="T8" fmla="*/ 0 w 145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96">
                  <a:moveTo>
                    <a:pt x="0" y="196"/>
                  </a:moveTo>
                  <a:lnTo>
                    <a:pt x="145" y="111"/>
                  </a:lnTo>
                  <a:lnTo>
                    <a:pt x="145" y="0"/>
                  </a:lnTo>
                  <a:lnTo>
                    <a:pt x="0" y="84"/>
                  </a:lnTo>
                  <a:lnTo>
                    <a:pt x="0" y="19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0" name="Freeform 23"/>
            <p:cNvSpPr>
              <a:spLocks/>
            </p:cNvSpPr>
            <p:nvPr userDrawn="1"/>
          </p:nvSpPr>
          <p:spPr bwMode="auto">
            <a:xfrm>
              <a:off x="4645025" y="3386138"/>
              <a:ext cx="153988" cy="266700"/>
            </a:xfrm>
            <a:custGeom>
              <a:avLst/>
              <a:gdLst>
                <a:gd name="T0" fmla="*/ 97 w 97"/>
                <a:gd name="T1" fmla="*/ 168 h 168"/>
                <a:gd name="T2" fmla="*/ 0 w 97"/>
                <a:gd name="T3" fmla="*/ 112 h 168"/>
                <a:gd name="T4" fmla="*/ 0 w 97"/>
                <a:gd name="T5" fmla="*/ 0 h 168"/>
                <a:gd name="T6" fmla="*/ 97 w 97"/>
                <a:gd name="T7" fmla="*/ 56 h 168"/>
                <a:gd name="T8" fmla="*/ 97 w 97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68">
                  <a:moveTo>
                    <a:pt x="97" y="168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97" y="56"/>
                  </a:lnTo>
                  <a:lnTo>
                    <a:pt x="97" y="168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1" name="Freeform 24"/>
            <p:cNvSpPr>
              <a:spLocks/>
            </p:cNvSpPr>
            <p:nvPr userDrawn="1"/>
          </p:nvSpPr>
          <p:spPr bwMode="auto">
            <a:xfrm>
              <a:off x="4570413" y="3606801"/>
              <a:ext cx="134938" cy="212725"/>
            </a:xfrm>
            <a:custGeom>
              <a:avLst/>
              <a:gdLst>
                <a:gd name="T0" fmla="*/ 46 w 84"/>
                <a:gd name="T1" fmla="*/ 27 h 131"/>
                <a:gd name="T2" fmla="*/ 0 w 84"/>
                <a:gd name="T3" fmla="*/ 0 h 131"/>
                <a:gd name="T4" fmla="*/ 0 w 84"/>
                <a:gd name="T5" fmla="*/ 110 h 131"/>
                <a:gd name="T6" fmla="*/ 17 w 84"/>
                <a:gd name="T7" fmla="*/ 108 h 131"/>
                <a:gd name="T8" fmla="*/ 72 w 84"/>
                <a:gd name="T9" fmla="*/ 131 h 131"/>
                <a:gd name="T10" fmla="*/ 84 w 84"/>
                <a:gd name="T11" fmla="*/ 105 h 131"/>
                <a:gd name="T12" fmla="*/ 46 w 84"/>
                <a:gd name="T13" fmla="*/ 84 h 131"/>
                <a:gd name="T14" fmla="*/ 46 w 84"/>
                <a:gd name="T15" fmla="*/ 2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31">
                  <a:moveTo>
                    <a:pt x="46" y="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5" y="108"/>
                    <a:pt x="11" y="108"/>
                    <a:pt x="17" y="108"/>
                  </a:cubicBezTo>
                  <a:cubicBezTo>
                    <a:pt x="39" y="108"/>
                    <a:pt x="58" y="117"/>
                    <a:pt x="72" y="131"/>
                  </a:cubicBezTo>
                  <a:cubicBezTo>
                    <a:pt x="75" y="122"/>
                    <a:pt x="79" y="113"/>
                    <a:pt x="84" y="105"/>
                  </a:cubicBezTo>
                  <a:cubicBezTo>
                    <a:pt x="46" y="84"/>
                    <a:pt x="46" y="84"/>
                    <a:pt x="46" y="84"/>
                  </a:cubicBezTo>
                  <a:lnTo>
                    <a:pt x="46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2" name="Freeform 25"/>
            <p:cNvSpPr>
              <a:spLocks/>
            </p:cNvSpPr>
            <p:nvPr userDrawn="1"/>
          </p:nvSpPr>
          <p:spPr bwMode="auto">
            <a:xfrm>
              <a:off x="4799013" y="3517901"/>
              <a:ext cx="230188" cy="222250"/>
            </a:xfrm>
            <a:custGeom>
              <a:avLst/>
              <a:gdLst>
                <a:gd name="T0" fmla="*/ 0 w 145"/>
                <a:gd name="T1" fmla="*/ 140 h 140"/>
                <a:gd name="T2" fmla="*/ 145 w 145"/>
                <a:gd name="T3" fmla="*/ 56 h 140"/>
                <a:gd name="T4" fmla="*/ 145 w 145"/>
                <a:gd name="T5" fmla="*/ 0 h 140"/>
                <a:gd name="T6" fmla="*/ 0 w 145"/>
                <a:gd name="T7" fmla="*/ 86 h 140"/>
                <a:gd name="T8" fmla="*/ 0 w 145"/>
                <a:gd name="T9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40">
                  <a:moveTo>
                    <a:pt x="0" y="140"/>
                  </a:moveTo>
                  <a:lnTo>
                    <a:pt x="145" y="56"/>
                  </a:lnTo>
                  <a:lnTo>
                    <a:pt x="145" y="0"/>
                  </a:lnTo>
                  <a:lnTo>
                    <a:pt x="0" y="86"/>
                  </a:lnTo>
                  <a:lnTo>
                    <a:pt x="0" y="140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3" name="Freeform 26"/>
            <p:cNvSpPr>
              <a:spLocks/>
            </p:cNvSpPr>
            <p:nvPr userDrawn="1"/>
          </p:nvSpPr>
          <p:spPr bwMode="auto">
            <a:xfrm>
              <a:off x="4799013" y="3605213"/>
              <a:ext cx="230188" cy="314325"/>
            </a:xfrm>
            <a:custGeom>
              <a:avLst/>
              <a:gdLst>
                <a:gd name="T0" fmla="*/ 0 w 145"/>
                <a:gd name="T1" fmla="*/ 198 h 198"/>
                <a:gd name="T2" fmla="*/ 145 w 145"/>
                <a:gd name="T3" fmla="*/ 113 h 198"/>
                <a:gd name="T4" fmla="*/ 145 w 145"/>
                <a:gd name="T5" fmla="*/ 0 h 198"/>
                <a:gd name="T6" fmla="*/ 0 w 145"/>
                <a:gd name="T7" fmla="*/ 85 h 198"/>
                <a:gd name="T8" fmla="*/ 0 w 145"/>
                <a:gd name="T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98">
                  <a:moveTo>
                    <a:pt x="0" y="198"/>
                  </a:moveTo>
                  <a:lnTo>
                    <a:pt x="145" y="113"/>
                  </a:lnTo>
                  <a:lnTo>
                    <a:pt x="145" y="0"/>
                  </a:lnTo>
                  <a:lnTo>
                    <a:pt x="0" y="85"/>
                  </a:lnTo>
                  <a:lnTo>
                    <a:pt x="0" y="1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4" name="Freeform 27"/>
            <p:cNvSpPr>
              <a:spLocks/>
            </p:cNvSpPr>
            <p:nvPr userDrawn="1"/>
          </p:nvSpPr>
          <p:spPr bwMode="auto">
            <a:xfrm>
              <a:off x="4570413" y="3776663"/>
              <a:ext cx="228600" cy="142875"/>
            </a:xfrm>
            <a:custGeom>
              <a:avLst/>
              <a:gdLst>
                <a:gd name="T0" fmla="*/ 142 w 142"/>
                <a:gd name="T1" fmla="*/ 34 h 88"/>
                <a:gd name="T2" fmla="*/ 142 w 142"/>
                <a:gd name="T3" fmla="*/ 34 h 88"/>
                <a:gd name="T4" fmla="*/ 84 w 142"/>
                <a:gd name="T5" fmla="*/ 0 h 88"/>
                <a:gd name="T6" fmla="*/ 72 w 142"/>
                <a:gd name="T7" fmla="*/ 26 h 88"/>
                <a:gd name="T8" fmla="*/ 17 w 142"/>
                <a:gd name="T9" fmla="*/ 3 h 88"/>
                <a:gd name="T10" fmla="*/ 0 w 142"/>
                <a:gd name="T11" fmla="*/ 5 h 88"/>
                <a:gd name="T12" fmla="*/ 0 w 142"/>
                <a:gd name="T13" fmla="*/ 5 h 88"/>
                <a:gd name="T14" fmla="*/ 142 w 142"/>
                <a:gd name="T15" fmla="*/ 88 h 88"/>
                <a:gd name="T16" fmla="*/ 142 w 142"/>
                <a:gd name="T17" fmla="*/ 88 h 88"/>
                <a:gd name="T18" fmla="*/ 142 w 142"/>
                <a:gd name="T19" fmla="*/ 3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" h="88">
                  <a:moveTo>
                    <a:pt x="142" y="34"/>
                  </a:moveTo>
                  <a:cubicBezTo>
                    <a:pt x="142" y="34"/>
                    <a:pt x="142" y="34"/>
                    <a:pt x="142" y="34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79" y="8"/>
                    <a:pt x="75" y="17"/>
                    <a:pt x="72" y="26"/>
                  </a:cubicBezTo>
                  <a:cubicBezTo>
                    <a:pt x="58" y="12"/>
                    <a:pt x="39" y="3"/>
                    <a:pt x="17" y="3"/>
                  </a:cubicBezTo>
                  <a:cubicBezTo>
                    <a:pt x="11" y="3"/>
                    <a:pt x="5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2" y="88"/>
                    <a:pt x="142" y="88"/>
                    <a:pt x="142" y="88"/>
                  </a:cubicBezTo>
                  <a:cubicBezTo>
                    <a:pt x="142" y="88"/>
                    <a:pt x="142" y="88"/>
                    <a:pt x="142" y="88"/>
                  </a:cubicBezTo>
                  <a:lnTo>
                    <a:pt x="142" y="34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5" name="Freeform 28"/>
            <p:cNvSpPr>
              <a:spLocks/>
            </p:cNvSpPr>
            <p:nvPr userDrawn="1"/>
          </p:nvSpPr>
          <p:spPr bwMode="auto">
            <a:xfrm>
              <a:off x="4570413" y="3209926"/>
              <a:ext cx="458788" cy="530225"/>
            </a:xfrm>
            <a:custGeom>
              <a:avLst/>
              <a:gdLst>
                <a:gd name="T0" fmla="*/ 144 w 289"/>
                <a:gd name="T1" fmla="*/ 279 h 334"/>
                <a:gd name="T2" fmla="*/ 144 w 289"/>
                <a:gd name="T3" fmla="*/ 279 h 334"/>
                <a:gd name="T4" fmla="*/ 47 w 289"/>
                <a:gd name="T5" fmla="*/ 223 h 334"/>
                <a:gd name="T6" fmla="*/ 47 w 289"/>
                <a:gd name="T7" fmla="*/ 110 h 334"/>
                <a:gd name="T8" fmla="*/ 144 w 289"/>
                <a:gd name="T9" fmla="*/ 54 h 334"/>
                <a:gd name="T10" fmla="*/ 242 w 289"/>
                <a:gd name="T11" fmla="*/ 110 h 334"/>
                <a:gd name="T12" fmla="*/ 242 w 289"/>
                <a:gd name="T13" fmla="*/ 111 h 334"/>
                <a:gd name="T14" fmla="*/ 289 w 289"/>
                <a:gd name="T15" fmla="*/ 83 h 334"/>
                <a:gd name="T16" fmla="*/ 144 w 289"/>
                <a:gd name="T17" fmla="*/ 0 h 334"/>
                <a:gd name="T18" fmla="*/ 0 w 289"/>
                <a:gd name="T19" fmla="*/ 83 h 334"/>
                <a:gd name="T20" fmla="*/ 0 w 289"/>
                <a:gd name="T21" fmla="*/ 250 h 334"/>
                <a:gd name="T22" fmla="*/ 144 w 289"/>
                <a:gd name="T23" fmla="*/ 334 h 334"/>
                <a:gd name="T24" fmla="*/ 144 w 289"/>
                <a:gd name="T25" fmla="*/ 334 h 334"/>
                <a:gd name="T26" fmla="*/ 144 w 289"/>
                <a:gd name="T27" fmla="*/ 279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9" h="334">
                  <a:moveTo>
                    <a:pt x="144" y="279"/>
                  </a:moveTo>
                  <a:lnTo>
                    <a:pt x="144" y="279"/>
                  </a:lnTo>
                  <a:lnTo>
                    <a:pt x="47" y="223"/>
                  </a:lnTo>
                  <a:lnTo>
                    <a:pt x="47" y="110"/>
                  </a:lnTo>
                  <a:lnTo>
                    <a:pt x="144" y="54"/>
                  </a:lnTo>
                  <a:lnTo>
                    <a:pt x="242" y="110"/>
                  </a:lnTo>
                  <a:lnTo>
                    <a:pt x="242" y="111"/>
                  </a:lnTo>
                  <a:lnTo>
                    <a:pt x="289" y="83"/>
                  </a:lnTo>
                  <a:lnTo>
                    <a:pt x="144" y="0"/>
                  </a:lnTo>
                  <a:lnTo>
                    <a:pt x="0" y="83"/>
                  </a:lnTo>
                  <a:lnTo>
                    <a:pt x="0" y="250"/>
                  </a:lnTo>
                  <a:lnTo>
                    <a:pt x="144" y="334"/>
                  </a:lnTo>
                  <a:lnTo>
                    <a:pt x="144" y="334"/>
                  </a:lnTo>
                  <a:lnTo>
                    <a:pt x="144" y="2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76" name="Freeform 6"/>
          <p:cNvSpPr>
            <a:spLocks/>
          </p:cNvSpPr>
          <p:nvPr userDrawn="1"/>
        </p:nvSpPr>
        <p:spPr bwMode="auto">
          <a:xfrm>
            <a:off x="9233487" y="2228929"/>
            <a:ext cx="2009175" cy="807831"/>
          </a:xfrm>
          <a:custGeom>
            <a:avLst/>
            <a:gdLst>
              <a:gd name="T0" fmla="*/ 1131 w 1266"/>
              <a:gd name="T1" fmla="*/ 241 h 510"/>
              <a:gd name="T2" fmla="*/ 1108 w 1266"/>
              <a:gd name="T3" fmla="*/ 241 h 510"/>
              <a:gd name="T4" fmla="*/ 853 w 1266"/>
              <a:gd name="T5" fmla="*/ 0 h 510"/>
              <a:gd name="T6" fmla="*/ 605 w 1266"/>
              <a:gd name="T7" fmla="*/ 188 h 510"/>
              <a:gd name="T8" fmla="*/ 469 w 1266"/>
              <a:gd name="T9" fmla="*/ 131 h 510"/>
              <a:gd name="T10" fmla="*/ 280 w 1266"/>
              <a:gd name="T11" fmla="*/ 303 h 510"/>
              <a:gd name="T12" fmla="*/ 192 w 1266"/>
              <a:gd name="T13" fmla="*/ 344 h 510"/>
              <a:gd name="T14" fmla="*/ 107 w 1266"/>
              <a:gd name="T15" fmla="*/ 300 h 510"/>
              <a:gd name="T16" fmla="*/ 0 w 1266"/>
              <a:gd name="T17" fmla="*/ 404 h 510"/>
              <a:gd name="T18" fmla="*/ 107 w 1266"/>
              <a:gd name="T19" fmla="*/ 510 h 510"/>
              <a:gd name="T20" fmla="*/ 135 w 1266"/>
              <a:gd name="T21" fmla="*/ 510 h 510"/>
              <a:gd name="T22" fmla="*/ 482 w 1266"/>
              <a:gd name="T23" fmla="*/ 510 h 510"/>
              <a:gd name="T24" fmla="*/ 674 w 1266"/>
              <a:gd name="T25" fmla="*/ 510 h 510"/>
              <a:gd name="T26" fmla="*/ 1140 w 1266"/>
              <a:gd name="T27" fmla="*/ 510 h 510"/>
              <a:gd name="T28" fmla="*/ 1140 w 1266"/>
              <a:gd name="T29" fmla="*/ 510 h 510"/>
              <a:gd name="T30" fmla="*/ 1266 w 1266"/>
              <a:gd name="T31" fmla="*/ 375 h 510"/>
              <a:gd name="T32" fmla="*/ 1131 w 1266"/>
              <a:gd name="T33" fmla="*/ 241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266" h="510">
                <a:moveTo>
                  <a:pt x="1131" y="241"/>
                </a:moveTo>
                <a:cubicBezTo>
                  <a:pt x="1124" y="241"/>
                  <a:pt x="1118" y="241"/>
                  <a:pt x="1108" y="241"/>
                </a:cubicBezTo>
                <a:cubicBezTo>
                  <a:pt x="1102" y="106"/>
                  <a:pt x="992" y="0"/>
                  <a:pt x="853" y="0"/>
                </a:cubicBezTo>
                <a:cubicBezTo>
                  <a:pt x="734" y="0"/>
                  <a:pt x="636" y="81"/>
                  <a:pt x="605" y="188"/>
                </a:cubicBezTo>
                <a:cubicBezTo>
                  <a:pt x="570" y="153"/>
                  <a:pt x="523" y="131"/>
                  <a:pt x="469" y="131"/>
                </a:cubicBezTo>
                <a:cubicBezTo>
                  <a:pt x="372" y="131"/>
                  <a:pt x="290" y="206"/>
                  <a:pt x="280" y="303"/>
                </a:cubicBezTo>
                <a:cubicBezTo>
                  <a:pt x="249" y="307"/>
                  <a:pt x="217" y="322"/>
                  <a:pt x="192" y="344"/>
                </a:cubicBezTo>
                <a:cubicBezTo>
                  <a:pt x="173" y="316"/>
                  <a:pt x="142" y="300"/>
                  <a:pt x="107" y="300"/>
                </a:cubicBezTo>
                <a:cubicBezTo>
                  <a:pt x="47" y="300"/>
                  <a:pt x="0" y="347"/>
                  <a:pt x="0" y="404"/>
                </a:cubicBezTo>
                <a:cubicBezTo>
                  <a:pt x="0" y="463"/>
                  <a:pt x="47" y="510"/>
                  <a:pt x="107" y="510"/>
                </a:cubicBezTo>
                <a:cubicBezTo>
                  <a:pt x="135" y="510"/>
                  <a:pt x="135" y="510"/>
                  <a:pt x="135" y="510"/>
                </a:cubicBezTo>
                <a:cubicBezTo>
                  <a:pt x="482" y="510"/>
                  <a:pt x="482" y="510"/>
                  <a:pt x="482" y="510"/>
                </a:cubicBezTo>
                <a:cubicBezTo>
                  <a:pt x="674" y="510"/>
                  <a:pt x="674" y="510"/>
                  <a:pt x="674" y="510"/>
                </a:cubicBezTo>
                <a:cubicBezTo>
                  <a:pt x="1140" y="510"/>
                  <a:pt x="1140" y="510"/>
                  <a:pt x="1140" y="510"/>
                </a:cubicBezTo>
                <a:cubicBezTo>
                  <a:pt x="1140" y="510"/>
                  <a:pt x="1140" y="510"/>
                  <a:pt x="1140" y="510"/>
                </a:cubicBezTo>
                <a:cubicBezTo>
                  <a:pt x="1209" y="504"/>
                  <a:pt x="1266" y="447"/>
                  <a:pt x="1266" y="375"/>
                </a:cubicBezTo>
                <a:cubicBezTo>
                  <a:pt x="1266" y="300"/>
                  <a:pt x="1206" y="241"/>
                  <a:pt x="1131" y="24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grpSp>
        <p:nvGrpSpPr>
          <p:cNvPr id="77" name="Group 76"/>
          <p:cNvGrpSpPr/>
          <p:nvPr userDrawn="1"/>
        </p:nvGrpSpPr>
        <p:grpSpPr>
          <a:xfrm>
            <a:off x="4540484" y="888770"/>
            <a:ext cx="4776264" cy="4702229"/>
            <a:chOff x="3657600" y="-6505575"/>
            <a:chExt cx="4872038" cy="4795838"/>
          </a:xfrm>
        </p:grpSpPr>
        <p:sp>
          <p:nvSpPr>
            <p:cNvPr id="78" name="Freeform 78"/>
            <p:cNvSpPr>
              <a:spLocks/>
            </p:cNvSpPr>
            <p:nvPr userDrawn="1"/>
          </p:nvSpPr>
          <p:spPr bwMode="auto">
            <a:xfrm>
              <a:off x="6442075" y="-3392488"/>
              <a:ext cx="1101725" cy="520700"/>
            </a:xfrm>
            <a:custGeom>
              <a:avLst/>
              <a:gdLst>
                <a:gd name="T0" fmla="*/ 0 w 694"/>
                <a:gd name="T1" fmla="*/ 256 h 328"/>
                <a:gd name="T2" fmla="*/ 125 w 694"/>
                <a:gd name="T3" fmla="*/ 328 h 328"/>
                <a:gd name="T4" fmla="*/ 694 w 694"/>
                <a:gd name="T5" fmla="*/ 0 h 328"/>
                <a:gd name="T6" fmla="*/ 694 w 694"/>
                <a:gd name="T7" fmla="*/ 0 h 328"/>
                <a:gd name="T8" fmla="*/ 125 w 694"/>
                <a:gd name="T9" fmla="*/ 328 h 328"/>
                <a:gd name="T10" fmla="*/ 0 w 694"/>
                <a:gd name="T11" fmla="*/ 256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4" h="328">
                  <a:moveTo>
                    <a:pt x="0" y="256"/>
                  </a:moveTo>
                  <a:lnTo>
                    <a:pt x="125" y="328"/>
                  </a:lnTo>
                  <a:lnTo>
                    <a:pt x="694" y="0"/>
                  </a:lnTo>
                  <a:lnTo>
                    <a:pt x="694" y="0"/>
                  </a:lnTo>
                  <a:lnTo>
                    <a:pt x="125" y="328"/>
                  </a:lnTo>
                  <a:lnTo>
                    <a:pt x="0" y="256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9" name="Freeform 87"/>
            <p:cNvSpPr>
              <a:spLocks/>
            </p:cNvSpPr>
            <p:nvPr userDrawn="1"/>
          </p:nvSpPr>
          <p:spPr bwMode="auto">
            <a:xfrm>
              <a:off x="5737225" y="-5473700"/>
              <a:ext cx="903288" cy="1560513"/>
            </a:xfrm>
            <a:custGeom>
              <a:avLst/>
              <a:gdLst>
                <a:gd name="T0" fmla="*/ 569 w 569"/>
                <a:gd name="T1" fmla="*/ 983 h 983"/>
                <a:gd name="T2" fmla="*/ 0 w 569"/>
                <a:gd name="T3" fmla="*/ 655 h 983"/>
                <a:gd name="T4" fmla="*/ 0 w 569"/>
                <a:gd name="T5" fmla="*/ 0 h 983"/>
                <a:gd name="T6" fmla="*/ 569 w 569"/>
                <a:gd name="T7" fmla="*/ 329 h 983"/>
                <a:gd name="T8" fmla="*/ 569 w 569"/>
                <a:gd name="T9" fmla="*/ 983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9" h="983">
                  <a:moveTo>
                    <a:pt x="569" y="983"/>
                  </a:moveTo>
                  <a:lnTo>
                    <a:pt x="0" y="655"/>
                  </a:lnTo>
                  <a:lnTo>
                    <a:pt x="0" y="0"/>
                  </a:lnTo>
                  <a:lnTo>
                    <a:pt x="569" y="329"/>
                  </a:lnTo>
                  <a:lnTo>
                    <a:pt x="569" y="983"/>
                  </a:lnTo>
                  <a:close/>
                </a:path>
              </a:pathLst>
            </a:custGeom>
            <a:solidFill>
              <a:srgbClr val="CECEC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0" name="Freeform 88"/>
            <p:cNvSpPr>
              <a:spLocks/>
            </p:cNvSpPr>
            <p:nvPr userDrawn="1"/>
          </p:nvSpPr>
          <p:spPr bwMode="auto">
            <a:xfrm>
              <a:off x="5299075" y="-4183063"/>
              <a:ext cx="790575" cy="1233488"/>
            </a:xfrm>
            <a:custGeom>
              <a:avLst/>
              <a:gdLst>
                <a:gd name="T0" fmla="*/ 271 w 489"/>
                <a:gd name="T1" fmla="*/ 157 h 763"/>
                <a:gd name="T2" fmla="*/ 0 w 489"/>
                <a:gd name="T3" fmla="*/ 0 h 763"/>
                <a:gd name="T4" fmla="*/ 0 w 489"/>
                <a:gd name="T5" fmla="*/ 641 h 763"/>
                <a:gd name="T6" fmla="*/ 102 w 489"/>
                <a:gd name="T7" fmla="*/ 629 h 763"/>
                <a:gd name="T8" fmla="*/ 423 w 489"/>
                <a:gd name="T9" fmla="*/ 763 h 763"/>
                <a:gd name="T10" fmla="*/ 489 w 489"/>
                <a:gd name="T11" fmla="*/ 615 h 763"/>
                <a:gd name="T12" fmla="*/ 271 w 489"/>
                <a:gd name="T13" fmla="*/ 489 h 763"/>
                <a:gd name="T14" fmla="*/ 271 w 489"/>
                <a:gd name="T15" fmla="*/ 157 h 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9" h="763">
                  <a:moveTo>
                    <a:pt x="271" y="15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41"/>
                    <a:pt x="0" y="641"/>
                    <a:pt x="0" y="641"/>
                  </a:cubicBezTo>
                  <a:cubicBezTo>
                    <a:pt x="33" y="633"/>
                    <a:pt x="67" y="629"/>
                    <a:pt x="102" y="629"/>
                  </a:cubicBezTo>
                  <a:cubicBezTo>
                    <a:pt x="229" y="629"/>
                    <a:pt x="341" y="681"/>
                    <a:pt x="423" y="763"/>
                  </a:cubicBezTo>
                  <a:cubicBezTo>
                    <a:pt x="439" y="711"/>
                    <a:pt x="461" y="661"/>
                    <a:pt x="489" y="615"/>
                  </a:cubicBezTo>
                  <a:cubicBezTo>
                    <a:pt x="271" y="489"/>
                    <a:pt x="271" y="489"/>
                    <a:pt x="271" y="489"/>
                  </a:cubicBezTo>
                  <a:lnTo>
                    <a:pt x="271" y="157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1" name="Freeform 97"/>
            <p:cNvSpPr>
              <a:spLocks/>
            </p:cNvSpPr>
            <p:nvPr userDrawn="1"/>
          </p:nvSpPr>
          <p:spPr bwMode="auto">
            <a:xfrm>
              <a:off x="5956300" y="-3586163"/>
              <a:ext cx="57150" cy="228600"/>
            </a:xfrm>
            <a:custGeom>
              <a:avLst/>
              <a:gdLst>
                <a:gd name="T0" fmla="*/ 0 w 36"/>
                <a:gd name="T1" fmla="*/ 144 h 144"/>
                <a:gd name="T2" fmla="*/ 36 w 36"/>
                <a:gd name="T3" fmla="*/ 122 h 144"/>
                <a:gd name="T4" fmla="*/ 36 w 36"/>
                <a:gd name="T5" fmla="*/ 21 h 144"/>
                <a:gd name="T6" fmla="*/ 0 w 36"/>
                <a:gd name="T7" fmla="*/ 0 h 144"/>
                <a:gd name="T8" fmla="*/ 0 w 36"/>
                <a:gd name="T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44">
                  <a:moveTo>
                    <a:pt x="0" y="144"/>
                  </a:moveTo>
                  <a:lnTo>
                    <a:pt x="36" y="122"/>
                  </a:lnTo>
                  <a:lnTo>
                    <a:pt x="36" y="21"/>
                  </a:lnTo>
                  <a:lnTo>
                    <a:pt x="0" y="0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rgbClr val="91A8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2" name="Freeform 98"/>
            <p:cNvSpPr>
              <a:spLocks/>
            </p:cNvSpPr>
            <p:nvPr userDrawn="1"/>
          </p:nvSpPr>
          <p:spPr bwMode="auto">
            <a:xfrm>
              <a:off x="5930900" y="-3598863"/>
              <a:ext cx="25400" cy="255588"/>
            </a:xfrm>
            <a:custGeom>
              <a:avLst/>
              <a:gdLst>
                <a:gd name="T0" fmla="*/ 0 w 16"/>
                <a:gd name="T1" fmla="*/ 161 h 161"/>
                <a:gd name="T2" fmla="*/ 16 w 16"/>
                <a:gd name="T3" fmla="*/ 152 h 161"/>
                <a:gd name="T4" fmla="*/ 16 w 16"/>
                <a:gd name="T5" fmla="*/ 8 h 161"/>
                <a:gd name="T6" fmla="*/ 0 w 16"/>
                <a:gd name="T7" fmla="*/ 0 h 161"/>
                <a:gd name="T8" fmla="*/ 0 w 16"/>
                <a:gd name="T9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1">
                  <a:moveTo>
                    <a:pt x="0" y="161"/>
                  </a:moveTo>
                  <a:lnTo>
                    <a:pt x="16" y="152"/>
                  </a:lnTo>
                  <a:lnTo>
                    <a:pt x="16" y="8"/>
                  </a:lnTo>
                  <a:lnTo>
                    <a:pt x="0" y="0"/>
                  </a:lnTo>
                  <a:lnTo>
                    <a:pt x="0" y="161"/>
                  </a:lnTo>
                  <a:close/>
                </a:path>
              </a:pathLst>
            </a:custGeom>
            <a:solidFill>
              <a:srgbClr val="004B1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3" name="Freeform 99"/>
            <p:cNvSpPr>
              <a:spLocks/>
            </p:cNvSpPr>
            <p:nvPr userDrawn="1"/>
          </p:nvSpPr>
          <p:spPr bwMode="auto">
            <a:xfrm>
              <a:off x="5881688" y="-3629025"/>
              <a:ext cx="49213" cy="314325"/>
            </a:xfrm>
            <a:custGeom>
              <a:avLst/>
              <a:gdLst>
                <a:gd name="T0" fmla="*/ 0 w 31"/>
                <a:gd name="T1" fmla="*/ 198 h 198"/>
                <a:gd name="T2" fmla="*/ 31 w 31"/>
                <a:gd name="T3" fmla="*/ 180 h 198"/>
                <a:gd name="T4" fmla="*/ 31 w 31"/>
                <a:gd name="T5" fmla="*/ 19 h 198"/>
                <a:gd name="T6" fmla="*/ 0 w 31"/>
                <a:gd name="T7" fmla="*/ 0 h 198"/>
                <a:gd name="T8" fmla="*/ 0 w 31"/>
                <a:gd name="T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8">
                  <a:moveTo>
                    <a:pt x="0" y="198"/>
                  </a:moveTo>
                  <a:lnTo>
                    <a:pt x="31" y="180"/>
                  </a:lnTo>
                  <a:lnTo>
                    <a:pt x="31" y="19"/>
                  </a:lnTo>
                  <a:lnTo>
                    <a:pt x="0" y="0"/>
                  </a:lnTo>
                  <a:lnTo>
                    <a:pt x="0" y="198"/>
                  </a:lnTo>
                  <a:close/>
                </a:path>
              </a:pathLst>
            </a:custGeom>
            <a:solidFill>
              <a:srgbClr val="BAD8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4" name="Freeform 100"/>
            <p:cNvSpPr>
              <a:spLocks/>
            </p:cNvSpPr>
            <p:nvPr userDrawn="1"/>
          </p:nvSpPr>
          <p:spPr bwMode="auto">
            <a:xfrm>
              <a:off x="5737225" y="-3632200"/>
              <a:ext cx="144463" cy="320675"/>
            </a:xfrm>
            <a:custGeom>
              <a:avLst/>
              <a:gdLst>
                <a:gd name="T0" fmla="*/ 91 w 91"/>
                <a:gd name="T1" fmla="*/ 2 h 202"/>
                <a:gd name="T2" fmla="*/ 87 w 91"/>
                <a:gd name="T3" fmla="*/ 0 h 202"/>
                <a:gd name="T4" fmla="*/ 0 w 91"/>
                <a:gd name="T5" fmla="*/ 50 h 202"/>
                <a:gd name="T6" fmla="*/ 0 w 91"/>
                <a:gd name="T7" fmla="*/ 151 h 202"/>
                <a:gd name="T8" fmla="*/ 87 w 91"/>
                <a:gd name="T9" fmla="*/ 202 h 202"/>
                <a:gd name="T10" fmla="*/ 91 w 91"/>
                <a:gd name="T11" fmla="*/ 200 h 202"/>
                <a:gd name="T12" fmla="*/ 91 w 91"/>
                <a:gd name="T13" fmla="*/ 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202">
                  <a:moveTo>
                    <a:pt x="91" y="2"/>
                  </a:moveTo>
                  <a:lnTo>
                    <a:pt x="87" y="0"/>
                  </a:lnTo>
                  <a:lnTo>
                    <a:pt x="0" y="50"/>
                  </a:lnTo>
                  <a:lnTo>
                    <a:pt x="0" y="151"/>
                  </a:lnTo>
                  <a:lnTo>
                    <a:pt x="87" y="202"/>
                  </a:lnTo>
                  <a:lnTo>
                    <a:pt x="91" y="200"/>
                  </a:lnTo>
                  <a:lnTo>
                    <a:pt x="91" y="2"/>
                  </a:lnTo>
                  <a:close/>
                </a:path>
              </a:pathLst>
            </a:custGeom>
            <a:solidFill>
              <a:srgbClr val="107C1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5" name="Freeform 129"/>
            <p:cNvSpPr>
              <a:spLocks/>
            </p:cNvSpPr>
            <p:nvPr userDrawn="1"/>
          </p:nvSpPr>
          <p:spPr bwMode="auto">
            <a:xfrm>
              <a:off x="6640513" y="-4192588"/>
              <a:ext cx="1343025" cy="1831975"/>
            </a:xfrm>
            <a:custGeom>
              <a:avLst/>
              <a:gdLst>
                <a:gd name="T0" fmla="*/ 0 w 846"/>
                <a:gd name="T1" fmla="*/ 1154 h 1154"/>
                <a:gd name="T2" fmla="*/ 846 w 846"/>
                <a:gd name="T3" fmla="*/ 660 h 1154"/>
                <a:gd name="T4" fmla="*/ 846 w 846"/>
                <a:gd name="T5" fmla="*/ 0 h 1154"/>
                <a:gd name="T6" fmla="*/ 0 w 846"/>
                <a:gd name="T7" fmla="*/ 494 h 1154"/>
                <a:gd name="T8" fmla="*/ 0 w 846"/>
                <a:gd name="T9" fmla="*/ 1154 h 1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6" h="1154">
                  <a:moveTo>
                    <a:pt x="0" y="1154"/>
                  </a:moveTo>
                  <a:lnTo>
                    <a:pt x="846" y="660"/>
                  </a:lnTo>
                  <a:lnTo>
                    <a:pt x="846" y="0"/>
                  </a:lnTo>
                  <a:lnTo>
                    <a:pt x="0" y="494"/>
                  </a:lnTo>
                  <a:lnTo>
                    <a:pt x="0" y="1154"/>
                  </a:lnTo>
                  <a:close/>
                </a:path>
              </a:pathLst>
            </a:custGeom>
            <a:solidFill>
              <a:srgbClr val="00205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6" name="Freeform 132"/>
            <p:cNvSpPr>
              <a:spLocks/>
            </p:cNvSpPr>
            <p:nvPr userDrawn="1"/>
          </p:nvSpPr>
          <p:spPr bwMode="auto">
            <a:xfrm>
              <a:off x="5299075" y="-3189288"/>
              <a:ext cx="1341438" cy="823913"/>
            </a:xfrm>
            <a:custGeom>
              <a:avLst/>
              <a:gdLst>
                <a:gd name="T0" fmla="*/ 829 w 829"/>
                <a:gd name="T1" fmla="*/ 196 h 509"/>
                <a:gd name="T2" fmla="*/ 829 w 829"/>
                <a:gd name="T3" fmla="*/ 196 h 509"/>
                <a:gd name="T4" fmla="*/ 489 w 829"/>
                <a:gd name="T5" fmla="*/ 0 h 509"/>
                <a:gd name="T6" fmla="*/ 423 w 829"/>
                <a:gd name="T7" fmla="*/ 148 h 509"/>
                <a:gd name="T8" fmla="*/ 102 w 829"/>
                <a:gd name="T9" fmla="*/ 14 h 509"/>
                <a:gd name="T10" fmla="*/ 0 w 829"/>
                <a:gd name="T11" fmla="*/ 26 h 509"/>
                <a:gd name="T12" fmla="*/ 0 w 829"/>
                <a:gd name="T13" fmla="*/ 31 h 509"/>
                <a:gd name="T14" fmla="*/ 829 w 829"/>
                <a:gd name="T15" fmla="*/ 509 h 509"/>
                <a:gd name="T16" fmla="*/ 829 w 829"/>
                <a:gd name="T17" fmla="*/ 509 h 509"/>
                <a:gd name="T18" fmla="*/ 829 w 829"/>
                <a:gd name="T19" fmla="*/ 196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9" h="509">
                  <a:moveTo>
                    <a:pt x="829" y="196"/>
                  </a:moveTo>
                  <a:cubicBezTo>
                    <a:pt x="829" y="196"/>
                    <a:pt x="829" y="196"/>
                    <a:pt x="829" y="196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61" y="46"/>
                    <a:pt x="439" y="96"/>
                    <a:pt x="423" y="148"/>
                  </a:cubicBezTo>
                  <a:cubicBezTo>
                    <a:pt x="341" y="66"/>
                    <a:pt x="229" y="14"/>
                    <a:pt x="102" y="14"/>
                  </a:cubicBezTo>
                  <a:cubicBezTo>
                    <a:pt x="67" y="14"/>
                    <a:pt x="33" y="18"/>
                    <a:pt x="0" y="2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829" y="509"/>
                    <a:pt x="829" y="509"/>
                    <a:pt x="829" y="509"/>
                  </a:cubicBezTo>
                  <a:cubicBezTo>
                    <a:pt x="829" y="509"/>
                    <a:pt x="829" y="509"/>
                    <a:pt x="829" y="509"/>
                  </a:cubicBezTo>
                  <a:lnTo>
                    <a:pt x="829" y="196"/>
                  </a:lnTo>
                  <a:close/>
                </a:path>
              </a:pathLst>
            </a:custGeom>
            <a:solidFill>
              <a:srgbClr val="A0E6F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7" name="Freeform 133"/>
            <p:cNvSpPr>
              <a:spLocks/>
            </p:cNvSpPr>
            <p:nvPr userDrawn="1"/>
          </p:nvSpPr>
          <p:spPr bwMode="auto">
            <a:xfrm>
              <a:off x="6199188" y="-5461000"/>
              <a:ext cx="885825" cy="509588"/>
            </a:xfrm>
            <a:custGeom>
              <a:avLst/>
              <a:gdLst>
                <a:gd name="T0" fmla="*/ 558 w 558"/>
                <a:gd name="T1" fmla="*/ 161 h 321"/>
                <a:gd name="T2" fmla="*/ 278 w 558"/>
                <a:gd name="T3" fmla="*/ 0 h 321"/>
                <a:gd name="T4" fmla="*/ 0 w 558"/>
                <a:gd name="T5" fmla="*/ 160 h 321"/>
                <a:gd name="T6" fmla="*/ 276 w 558"/>
                <a:gd name="T7" fmla="*/ 320 h 321"/>
                <a:gd name="T8" fmla="*/ 278 w 558"/>
                <a:gd name="T9" fmla="*/ 319 h 321"/>
                <a:gd name="T10" fmla="*/ 282 w 558"/>
                <a:gd name="T11" fmla="*/ 321 h 321"/>
                <a:gd name="T12" fmla="*/ 558 w 558"/>
                <a:gd name="T13" fmla="*/ 16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8" h="321">
                  <a:moveTo>
                    <a:pt x="558" y="161"/>
                  </a:moveTo>
                  <a:lnTo>
                    <a:pt x="278" y="0"/>
                  </a:lnTo>
                  <a:lnTo>
                    <a:pt x="0" y="160"/>
                  </a:lnTo>
                  <a:lnTo>
                    <a:pt x="276" y="320"/>
                  </a:lnTo>
                  <a:lnTo>
                    <a:pt x="278" y="319"/>
                  </a:lnTo>
                  <a:lnTo>
                    <a:pt x="282" y="321"/>
                  </a:lnTo>
                  <a:lnTo>
                    <a:pt x="558" y="161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8" name="Freeform 134"/>
            <p:cNvSpPr>
              <a:spLocks/>
            </p:cNvSpPr>
            <p:nvPr userDrawn="1"/>
          </p:nvSpPr>
          <p:spPr bwMode="auto">
            <a:xfrm>
              <a:off x="5299075" y="-6505575"/>
              <a:ext cx="2684463" cy="3097213"/>
            </a:xfrm>
            <a:custGeom>
              <a:avLst/>
              <a:gdLst>
                <a:gd name="T0" fmla="*/ 1691 w 1691"/>
                <a:gd name="T1" fmla="*/ 488 h 1951"/>
                <a:gd name="T2" fmla="*/ 845 w 1691"/>
                <a:gd name="T3" fmla="*/ 0 h 1951"/>
                <a:gd name="T4" fmla="*/ 0 w 1691"/>
                <a:gd name="T5" fmla="*/ 488 h 1951"/>
                <a:gd name="T6" fmla="*/ 0 w 1691"/>
                <a:gd name="T7" fmla="*/ 1463 h 1951"/>
                <a:gd name="T8" fmla="*/ 845 w 1691"/>
                <a:gd name="T9" fmla="*/ 1951 h 1951"/>
                <a:gd name="T10" fmla="*/ 845 w 1691"/>
                <a:gd name="T11" fmla="*/ 1951 h 1951"/>
                <a:gd name="T12" fmla="*/ 845 w 1691"/>
                <a:gd name="T13" fmla="*/ 1632 h 1951"/>
                <a:gd name="T14" fmla="*/ 845 w 1691"/>
                <a:gd name="T15" fmla="*/ 1632 h 1951"/>
                <a:gd name="T16" fmla="*/ 276 w 1691"/>
                <a:gd name="T17" fmla="*/ 1304 h 1951"/>
                <a:gd name="T18" fmla="*/ 276 w 1691"/>
                <a:gd name="T19" fmla="*/ 647 h 1951"/>
                <a:gd name="T20" fmla="*/ 845 w 1691"/>
                <a:gd name="T21" fmla="*/ 319 h 1951"/>
                <a:gd name="T22" fmla="*/ 1414 w 1691"/>
                <a:gd name="T23" fmla="*/ 647 h 1951"/>
                <a:gd name="T24" fmla="*/ 1414 w 1691"/>
                <a:gd name="T25" fmla="*/ 649 h 1951"/>
                <a:gd name="T26" fmla="*/ 845 w 1691"/>
                <a:gd name="T27" fmla="*/ 982 h 1951"/>
                <a:gd name="T28" fmla="*/ 845 w 1691"/>
                <a:gd name="T29" fmla="*/ 1632 h 1951"/>
                <a:gd name="T30" fmla="*/ 1691 w 1691"/>
                <a:gd name="T31" fmla="*/ 1137 h 1951"/>
                <a:gd name="T32" fmla="*/ 1691 w 1691"/>
                <a:gd name="T33" fmla="*/ 488 h 1951"/>
                <a:gd name="T34" fmla="*/ 1691 w 1691"/>
                <a:gd name="T35" fmla="*/ 488 h 19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91" h="1951">
                  <a:moveTo>
                    <a:pt x="1691" y="488"/>
                  </a:moveTo>
                  <a:lnTo>
                    <a:pt x="845" y="0"/>
                  </a:lnTo>
                  <a:lnTo>
                    <a:pt x="0" y="488"/>
                  </a:lnTo>
                  <a:lnTo>
                    <a:pt x="0" y="1463"/>
                  </a:lnTo>
                  <a:lnTo>
                    <a:pt x="845" y="1951"/>
                  </a:lnTo>
                  <a:lnTo>
                    <a:pt x="845" y="1951"/>
                  </a:lnTo>
                  <a:lnTo>
                    <a:pt x="845" y="1632"/>
                  </a:lnTo>
                  <a:lnTo>
                    <a:pt x="845" y="1632"/>
                  </a:lnTo>
                  <a:lnTo>
                    <a:pt x="276" y="1304"/>
                  </a:lnTo>
                  <a:lnTo>
                    <a:pt x="276" y="647"/>
                  </a:lnTo>
                  <a:lnTo>
                    <a:pt x="845" y="319"/>
                  </a:lnTo>
                  <a:lnTo>
                    <a:pt x="1414" y="647"/>
                  </a:lnTo>
                  <a:lnTo>
                    <a:pt x="1414" y="649"/>
                  </a:lnTo>
                  <a:lnTo>
                    <a:pt x="845" y="982"/>
                  </a:lnTo>
                  <a:lnTo>
                    <a:pt x="845" y="1632"/>
                  </a:lnTo>
                  <a:lnTo>
                    <a:pt x="1691" y="1137"/>
                  </a:lnTo>
                  <a:lnTo>
                    <a:pt x="1691" y="488"/>
                  </a:lnTo>
                  <a:lnTo>
                    <a:pt x="1691" y="488"/>
                  </a:lnTo>
                  <a:close/>
                </a:path>
              </a:pathLst>
            </a:custGeom>
            <a:solidFill>
              <a:srgbClr val="00205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9" name="Freeform 135"/>
            <p:cNvSpPr>
              <a:spLocks/>
            </p:cNvSpPr>
            <p:nvPr userDrawn="1"/>
          </p:nvSpPr>
          <p:spPr bwMode="auto">
            <a:xfrm>
              <a:off x="6640513" y="-4712993"/>
              <a:ext cx="1343025" cy="1304630"/>
            </a:xfrm>
            <a:custGeom>
              <a:avLst/>
              <a:gdLst>
                <a:gd name="T0" fmla="*/ 0 w 846"/>
                <a:gd name="T1" fmla="*/ 814 h 814"/>
                <a:gd name="T2" fmla="*/ 0 w 846"/>
                <a:gd name="T3" fmla="*/ 814 h 814"/>
                <a:gd name="T4" fmla="*/ 846 w 846"/>
                <a:gd name="T5" fmla="*/ 326 h 814"/>
                <a:gd name="T6" fmla="*/ 846 w 846"/>
                <a:gd name="T7" fmla="*/ 0 h 814"/>
                <a:gd name="T8" fmla="*/ 0 w 846"/>
                <a:gd name="T9" fmla="*/ 495 h 814"/>
                <a:gd name="T10" fmla="*/ 0 w 846"/>
                <a:gd name="T11" fmla="*/ 814 h 814"/>
                <a:gd name="connsiteX0" fmla="*/ 0 w 10000"/>
                <a:gd name="connsiteY0" fmla="*/ 10096 h 10096"/>
                <a:gd name="connsiteX1" fmla="*/ 0 w 10000"/>
                <a:gd name="connsiteY1" fmla="*/ 10096 h 10096"/>
                <a:gd name="connsiteX2" fmla="*/ 10000 w 10000"/>
                <a:gd name="connsiteY2" fmla="*/ 4101 h 10096"/>
                <a:gd name="connsiteX3" fmla="*/ 10000 w 10000"/>
                <a:gd name="connsiteY3" fmla="*/ 0 h 10096"/>
                <a:gd name="connsiteX4" fmla="*/ 0 w 10000"/>
                <a:gd name="connsiteY4" fmla="*/ 6177 h 10096"/>
                <a:gd name="connsiteX5" fmla="*/ 0 w 10000"/>
                <a:gd name="connsiteY5" fmla="*/ 10096 h 1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00" h="10096">
                  <a:moveTo>
                    <a:pt x="0" y="10096"/>
                  </a:moveTo>
                  <a:lnTo>
                    <a:pt x="0" y="10096"/>
                  </a:lnTo>
                  <a:lnTo>
                    <a:pt x="10000" y="4101"/>
                  </a:lnTo>
                  <a:lnTo>
                    <a:pt x="10000" y="0"/>
                  </a:lnTo>
                  <a:lnTo>
                    <a:pt x="0" y="6177"/>
                  </a:lnTo>
                  <a:lnTo>
                    <a:pt x="0" y="10096"/>
                  </a:lnTo>
                  <a:close/>
                </a:path>
              </a:pathLst>
            </a:custGeom>
            <a:solidFill>
              <a:srgbClr val="7B7B7B"/>
            </a:solidFill>
            <a:ln w="19050">
              <a:solidFill>
                <a:srgbClr val="7B7B7B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0" name="Freeform 144"/>
            <p:cNvSpPr>
              <a:spLocks/>
            </p:cNvSpPr>
            <p:nvPr userDrawn="1"/>
          </p:nvSpPr>
          <p:spPr bwMode="auto">
            <a:xfrm>
              <a:off x="6091238" y="-3529013"/>
              <a:ext cx="549275" cy="657225"/>
            </a:xfrm>
            <a:custGeom>
              <a:avLst/>
              <a:gdLst>
                <a:gd name="T0" fmla="*/ 339 w 339"/>
                <a:gd name="T1" fmla="*/ 407 h 407"/>
                <a:gd name="T2" fmla="*/ 339 w 339"/>
                <a:gd name="T3" fmla="*/ 75 h 407"/>
                <a:gd name="T4" fmla="*/ 339 w 339"/>
                <a:gd name="T5" fmla="*/ 75 h 407"/>
                <a:gd name="T6" fmla="*/ 210 w 339"/>
                <a:gd name="T7" fmla="*/ 0 h 407"/>
                <a:gd name="T8" fmla="*/ 0 w 339"/>
                <a:gd name="T9" fmla="*/ 212 h 407"/>
                <a:gd name="T10" fmla="*/ 339 w 339"/>
                <a:gd name="T11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9" h="407">
                  <a:moveTo>
                    <a:pt x="339" y="407"/>
                  </a:moveTo>
                  <a:cubicBezTo>
                    <a:pt x="339" y="75"/>
                    <a:pt x="339" y="75"/>
                    <a:pt x="339" y="75"/>
                  </a:cubicBezTo>
                  <a:cubicBezTo>
                    <a:pt x="339" y="75"/>
                    <a:pt x="339" y="75"/>
                    <a:pt x="339" y="75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111" y="61"/>
                    <a:pt x="18" y="187"/>
                    <a:pt x="0" y="212"/>
                  </a:cubicBezTo>
                  <a:cubicBezTo>
                    <a:pt x="339" y="407"/>
                    <a:pt x="339" y="407"/>
                    <a:pt x="339" y="40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1" name="Freeform 145"/>
            <p:cNvSpPr>
              <a:spLocks/>
            </p:cNvSpPr>
            <p:nvPr userDrawn="1"/>
          </p:nvSpPr>
          <p:spPr bwMode="auto">
            <a:xfrm>
              <a:off x="6083300" y="-3189288"/>
              <a:ext cx="7938" cy="11113"/>
            </a:xfrm>
            <a:custGeom>
              <a:avLst/>
              <a:gdLst>
                <a:gd name="T0" fmla="*/ 5 w 5"/>
                <a:gd name="T1" fmla="*/ 1 h 6"/>
                <a:gd name="T2" fmla="*/ 4 w 5"/>
                <a:gd name="T3" fmla="*/ 0 h 6"/>
                <a:gd name="T4" fmla="*/ 5 w 5"/>
                <a:gd name="T5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6">
                  <a:moveTo>
                    <a:pt x="5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6"/>
                    <a:pt x="1" y="6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2" name="Freeform 146"/>
            <p:cNvSpPr>
              <a:spLocks/>
            </p:cNvSpPr>
            <p:nvPr userDrawn="1"/>
          </p:nvSpPr>
          <p:spPr bwMode="auto">
            <a:xfrm>
              <a:off x="3657600" y="-3146425"/>
              <a:ext cx="4872038" cy="1436688"/>
            </a:xfrm>
            <a:custGeom>
              <a:avLst/>
              <a:gdLst>
                <a:gd name="T0" fmla="*/ 2686 w 3008"/>
                <a:gd name="T1" fmla="*/ 249 h 888"/>
                <a:gd name="T2" fmla="*/ 2634 w 3008"/>
                <a:gd name="T3" fmla="*/ 249 h 888"/>
                <a:gd name="T4" fmla="*/ 2590 w 3008"/>
                <a:gd name="T5" fmla="*/ 49 h 888"/>
                <a:gd name="T6" fmla="*/ 1842 w 3008"/>
                <a:gd name="T7" fmla="*/ 486 h 888"/>
                <a:gd name="T8" fmla="*/ 1842 w 3008"/>
                <a:gd name="T9" fmla="*/ 483 h 888"/>
                <a:gd name="T10" fmla="*/ 1842 w 3008"/>
                <a:gd name="T11" fmla="*/ 483 h 888"/>
                <a:gd name="T12" fmla="*/ 1013 w 3008"/>
                <a:gd name="T13" fmla="*/ 5 h 888"/>
                <a:gd name="T14" fmla="*/ 1013 w 3008"/>
                <a:gd name="T15" fmla="*/ 0 h 888"/>
                <a:gd name="T16" fmla="*/ 1012 w 3008"/>
                <a:gd name="T17" fmla="*/ 0 h 888"/>
                <a:gd name="T18" fmla="*/ 666 w 3008"/>
                <a:gd name="T19" fmla="*/ 397 h 888"/>
                <a:gd name="T20" fmla="*/ 456 w 3008"/>
                <a:gd name="T21" fmla="*/ 494 h 888"/>
                <a:gd name="T22" fmla="*/ 254 w 3008"/>
                <a:gd name="T23" fmla="*/ 390 h 888"/>
                <a:gd name="T24" fmla="*/ 0 w 3008"/>
                <a:gd name="T25" fmla="*/ 635 h 888"/>
                <a:gd name="T26" fmla="*/ 254 w 3008"/>
                <a:gd name="T27" fmla="*/ 888 h 888"/>
                <a:gd name="T28" fmla="*/ 321 w 3008"/>
                <a:gd name="T29" fmla="*/ 888 h 888"/>
                <a:gd name="T30" fmla="*/ 1145 w 3008"/>
                <a:gd name="T31" fmla="*/ 888 h 888"/>
                <a:gd name="T32" fmla="*/ 1601 w 3008"/>
                <a:gd name="T33" fmla="*/ 888 h 888"/>
                <a:gd name="T34" fmla="*/ 2709 w 3008"/>
                <a:gd name="T35" fmla="*/ 888 h 888"/>
                <a:gd name="T36" fmla="*/ 3008 w 3008"/>
                <a:gd name="T37" fmla="*/ 568 h 888"/>
                <a:gd name="T38" fmla="*/ 2686 w 3008"/>
                <a:gd name="T39" fmla="*/ 249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08" h="888">
                  <a:moveTo>
                    <a:pt x="2686" y="249"/>
                  </a:moveTo>
                  <a:cubicBezTo>
                    <a:pt x="2671" y="249"/>
                    <a:pt x="2656" y="249"/>
                    <a:pt x="2634" y="249"/>
                  </a:cubicBezTo>
                  <a:cubicBezTo>
                    <a:pt x="2631" y="178"/>
                    <a:pt x="2615" y="111"/>
                    <a:pt x="2590" y="49"/>
                  </a:cubicBezTo>
                  <a:cubicBezTo>
                    <a:pt x="1842" y="486"/>
                    <a:pt x="1842" y="486"/>
                    <a:pt x="1842" y="486"/>
                  </a:cubicBezTo>
                  <a:cubicBezTo>
                    <a:pt x="1842" y="483"/>
                    <a:pt x="1842" y="483"/>
                    <a:pt x="1842" y="483"/>
                  </a:cubicBezTo>
                  <a:cubicBezTo>
                    <a:pt x="1842" y="483"/>
                    <a:pt x="1842" y="483"/>
                    <a:pt x="1842" y="483"/>
                  </a:cubicBezTo>
                  <a:cubicBezTo>
                    <a:pt x="1013" y="5"/>
                    <a:pt x="1013" y="5"/>
                    <a:pt x="1013" y="5"/>
                  </a:cubicBezTo>
                  <a:cubicBezTo>
                    <a:pt x="1013" y="0"/>
                    <a:pt x="1013" y="0"/>
                    <a:pt x="1013" y="0"/>
                  </a:cubicBezTo>
                  <a:cubicBezTo>
                    <a:pt x="1012" y="0"/>
                    <a:pt x="1012" y="0"/>
                    <a:pt x="1012" y="0"/>
                  </a:cubicBezTo>
                  <a:cubicBezTo>
                    <a:pt x="827" y="44"/>
                    <a:pt x="685" y="202"/>
                    <a:pt x="666" y="397"/>
                  </a:cubicBezTo>
                  <a:cubicBezTo>
                    <a:pt x="591" y="405"/>
                    <a:pt x="516" y="442"/>
                    <a:pt x="456" y="494"/>
                  </a:cubicBezTo>
                  <a:cubicBezTo>
                    <a:pt x="411" y="427"/>
                    <a:pt x="336" y="390"/>
                    <a:pt x="254" y="390"/>
                  </a:cubicBezTo>
                  <a:cubicBezTo>
                    <a:pt x="112" y="390"/>
                    <a:pt x="0" y="501"/>
                    <a:pt x="0" y="635"/>
                  </a:cubicBezTo>
                  <a:cubicBezTo>
                    <a:pt x="0" y="776"/>
                    <a:pt x="112" y="888"/>
                    <a:pt x="254" y="888"/>
                  </a:cubicBezTo>
                  <a:cubicBezTo>
                    <a:pt x="321" y="888"/>
                    <a:pt x="321" y="888"/>
                    <a:pt x="321" y="888"/>
                  </a:cubicBezTo>
                  <a:cubicBezTo>
                    <a:pt x="1145" y="888"/>
                    <a:pt x="1145" y="888"/>
                    <a:pt x="1145" y="888"/>
                  </a:cubicBezTo>
                  <a:cubicBezTo>
                    <a:pt x="1601" y="888"/>
                    <a:pt x="1601" y="888"/>
                    <a:pt x="1601" y="888"/>
                  </a:cubicBezTo>
                  <a:cubicBezTo>
                    <a:pt x="2709" y="888"/>
                    <a:pt x="2709" y="888"/>
                    <a:pt x="2709" y="888"/>
                  </a:cubicBezTo>
                  <a:cubicBezTo>
                    <a:pt x="2873" y="873"/>
                    <a:pt x="3008" y="739"/>
                    <a:pt x="3008" y="568"/>
                  </a:cubicBezTo>
                  <a:cubicBezTo>
                    <a:pt x="3008" y="390"/>
                    <a:pt x="2866" y="249"/>
                    <a:pt x="2686" y="24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93" name="Group 92"/>
          <p:cNvGrpSpPr/>
          <p:nvPr userDrawn="1"/>
        </p:nvGrpSpPr>
        <p:grpSpPr>
          <a:xfrm>
            <a:off x="8070936" y="6101534"/>
            <a:ext cx="445100" cy="689535"/>
            <a:chOff x="7259638" y="4756151"/>
            <a:chExt cx="454025" cy="703262"/>
          </a:xfrm>
        </p:grpSpPr>
        <p:sp>
          <p:nvSpPr>
            <p:cNvPr id="94" name="Freeform 10"/>
            <p:cNvSpPr>
              <a:spLocks/>
            </p:cNvSpPr>
            <p:nvPr userDrawn="1"/>
          </p:nvSpPr>
          <p:spPr bwMode="auto">
            <a:xfrm>
              <a:off x="7410450" y="4933951"/>
              <a:ext cx="152400" cy="87313"/>
            </a:xfrm>
            <a:custGeom>
              <a:avLst/>
              <a:gdLst>
                <a:gd name="T0" fmla="*/ 96 w 96"/>
                <a:gd name="T1" fmla="*/ 27 h 55"/>
                <a:gd name="T2" fmla="*/ 47 w 96"/>
                <a:gd name="T3" fmla="*/ 0 h 55"/>
                <a:gd name="T4" fmla="*/ 0 w 96"/>
                <a:gd name="T5" fmla="*/ 27 h 55"/>
                <a:gd name="T6" fmla="*/ 48 w 96"/>
                <a:gd name="T7" fmla="*/ 55 h 55"/>
                <a:gd name="T8" fmla="*/ 96 w 96"/>
                <a:gd name="T9" fmla="*/ 2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55">
                  <a:moveTo>
                    <a:pt x="96" y="27"/>
                  </a:moveTo>
                  <a:lnTo>
                    <a:pt x="47" y="0"/>
                  </a:lnTo>
                  <a:lnTo>
                    <a:pt x="0" y="27"/>
                  </a:lnTo>
                  <a:lnTo>
                    <a:pt x="48" y="55"/>
                  </a:lnTo>
                  <a:lnTo>
                    <a:pt x="96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5" name="Freeform 11"/>
            <p:cNvSpPr>
              <a:spLocks/>
            </p:cNvSpPr>
            <p:nvPr userDrawn="1"/>
          </p:nvSpPr>
          <p:spPr bwMode="auto">
            <a:xfrm>
              <a:off x="7486650" y="4887913"/>
              <a:ext cx="227013" cy="307975"/>
            </a:xfrm>
            <a:custGeom>
              <a:avLst/>
              <a:gdLst>
                <a:gd name="T0" fmla="*/ 0 w 143"/>
                <a:gd name="T1" fmla="*/ 194 h 194"/>
                <a:gd name="T2" fmla="*/ 143 w 143"/>
                <a:gd name="T3" fmla="*/ 110 h 194"/>
                <a:gd name="T4" fmla="*/ 143 w 143"/>
                <a:gd name="T5" fmla="*/ 0 h 194"/>
                <a:gd name="T6" fmla="*/ 0 w 143"/>
                <a:gd name="T7" fmla="*/ 84 h 194"/>
                <a:gd name="T8" fmla="*/ 0 w 143"/>
                <a:gd name="T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94">
                  <a:moveTo>
                    <a:pt x="0" y="194"/>
                  </a:moveTo>
                  <a:lnTo>
                    <a:pt x="143" y="110"/>
                  </a:lnTo>
                  <a:lnTo>
                    <a:pt x="143" y="0"/>
                  </a:lnTo>
                  <a:lnTo>
                    <a:pt x="0" y="8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6" name="Freeform 12"/>
            <p:cNvSpPr>
              <a:spLocks/>
            </p:cNvSpPr>
            <p:nvPr userDrawn="1"/>
          </p:nvSpPr>
          <p:spPr bwMode="auto">
            <a:xfrm>
              <a:off x="7332663" y="4930776"/>
              <a:ext cx="153988" cy="266700"/>
            </a:xfrm>
            <a:custGeom>
              <a:avLst/>
              <a:gdLst>
                <a:gd name="T0" fmla="*/ 97 w 97"/>
                <a:gd name="T1" fmla="*/ 168 h 168"/>
                <a:gd name="T2" fmla="*/ 0 w 97"/>
                <a:gd name="T3" fmla="*/ 112 h 168"/>
                <a:gd name="T4" fmla="*/ 0 w 97"/>
                <a:gd name="T5" fmla="*/ 0 h 168"/>
                <a:gd name="T6" fmla="*/ 97 w 97"/>
                <a:gd name="T7" fmla="*/ 57 h 168"/>
                <a:gd name="T8" fmla="*/ 97 w 97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68">
                  <a:moveTo>
                    <a:pt x="97" y="168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97" y="57"/>
                  </a:lnTo>
                  <a:lnTo>
                    <a:pt x="97" y="168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7" name="Freeform 13"/>
            <p:cNvSpPr>
              <a:spLocks/>
            </p:cNvSpPr>
            <p:nvPr userDrawn="1"/>
          </p:nvSpPr>
          <p:spPr bwMode="auto">
            <a:xfrm>
              <a:off x="7259638" y="5149851"/>
              <a:ext cx="133350" cy="209550"/>
            </a:xfrm>
            <a:custGeom>
              <a:avLst/>
              <a:gdLst>
                <a:gd name="T0" fmla="*/ 45 w 82"/>
                <a:gd name="T1" fmla="*/ 27 h 130"/>
                <a:gd name="T2" fmla="*/ 0 w 82"/>
                <a:gd name="T3" fmla="*/ 0 h 130"/>
                <a:gd name="T4" fmla="*/ 0 w 82"/>
                <a:gd name="T5" fmla="*/ 109 h 130"/>
                <a:gd name="T6" fmla="*/ 17 w 82"/>
                <a:gd name="T7" fmla="*/ 107 h 130"/>
                <a:gd name="T8" fmla="*/ 71 w 82"/>
                <a:gd name="T9" fmla="*/ 130 h 130"/>
                <a:gd name="T10" fmla="*/ 82 w 82"/>
                <a:gd name="T11" fmla="*/ 105 h 130"/>
                <a:gd name="T12" fmla="*/ 45 w 82"/>
                <a:gd name="T13" fmla="*/ 83 h 130"/>
                <a:gd name="T14" fmla="*/ 45 w 82"/>
                <a:gd name="T15" fmla="*/ 27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0">
                  <a:moveTo>
                    <a:pt x="45" y="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5" y="108"/>
                    <a:pt x="11" y="107"/>
                    <a:pt x="17" y="107"/>
                  </a:cubicBezTo>
                  <a:cubicBezTo>
                    <a:pt x="38" y="107"/>
                    <a:pt x="57" y="116"/>
                    <a:pt x="71" y="130"/>
                  </a:cubicBezTo>
                  <a:cubicBezTo>
                    <a:pt x="74" y="121"/>
                    <a:pt x="78" y="112"/>
                    <a:pt x="82" y="105"/>
                  </a:cubicBezTo>
                  <a:cubicBezTo>
                    <a:pt x="45" y="83"/>
                    <a:pt x="45" y="83"/>
                    <a:pt x="45" y="83"/>
                  </a:cubicBezTo>
                  <a:lnTo>
                    <a:pt x="45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8" name="Freeform 14"/>
            <p:cNvSpPr>
              <a:spLocks/>
            </p:cNvSpPr>
            <p:nvPr userDrawn="1"/>
          </p:nvSpPr>
          <p:spPr bwMode="auto">
            <a:xfrm>
              <a:off x="7486650" y="5062538"/>
              <a:ext cx="227013" cy="217488"/>
            </a:xfrm>
            <a:custGeom>
              <a:avLst/>
              <a:gdLst>
                <a:gd name="T0" fmla="*/ 0 w 143"/>
                <a:gd name="T1" fmla="*/ 137 h 137"/>
                <a:gd name="T2" fmla="*/ 143 w 143"/>
                <a:gd name="T3" fmla="*/ 55 h 137"/>
                <a:gd name="T4" fmla="*/ 143 w 143"/>
                <a:gd name="T5" fmla="*/ 0 h 137"/>
                <a:gd name="T6" fmla="*/ 0 w 143"/>
                <a:gd name="T7" fmla="*/ 85 h 137"/>
                <a:gd name="T8" fmla="*/ 0 w 143"/>
                <a:gd name="T9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37">
                  <a:moveTo>
                    <a:pt x="0" y="137"/>
                  </a:moveTo>
                  <a:lnTo>
                    <a:pt x="143" y="55"/>
                  </a:lnTo>
                  <a:lnTo>
                    <a:pt x="143" y="0"/>
                  </a:lnTo>
                  <a:lnTo>
                    <a:pt x="0" y="85"/>
                  </a:lnTo>
                  <a:lnTo>
                    <a:pt x="0" y="137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9" name="Freeform 15"/>
            <p:cNvSpPr>
              <a:spLocks/>
            </p:cNvSpPr>
            <p:nvPr userDrawn="1"/>
          </p:nvSpPr>
          <p:spPr bwMode="auto">
            <a:xfrm>
              <a:off x="7486650" y="5148263"/>
              <a:ext cx="227013" cy="311150"/>
            </a:xfrm>
            <a:custGeom>
              <a:avLst/>
              <a:gdLst>
                <a:gd name="T0" fmla="*/ 0 w 143"/>
                <a:gd name="T1" fmla="*/ 196 h 196"/>
                <a:gd name="T2" fmla="*/ 143 w 143"/>
                <a:gd name="T3" fmla="*/ 112 h 196"/>
                <a:gd name="T4" fmla="*/ 143 w 143"/>
                <a:gd name="T5" fmla="*/ 0 h 196"/>
                <a:gd name="T6" fmla="*/ 0 w 143"/>
                <a:gd name="T7" fmla="*/ 83 h 196"/>
                <a:gd name="T8" fmla="*/ 0 w 143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96">
                  <a:moveTo>
                    <a:pt x="0" y="196"/>
                  </a:moveTo>
                  <a:lnTo>
                    <a:pt x="143" y="112"/>
                  </a:lnTo>
                  <a:lnTo>
                    <a:pt x="143" y="0"/>
                  </a:lnTo>
                  <a:lnTo>
                    <a:pt x="0" y="83"/>
                  </a:lnTo>
                  <a:lnTo>
                    <a:pt x="0" y="19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0" name="Freeform 16"/>
            <p:cNvSpPr>
              <a:spLocks/>
            </p:cNvSpPr>
            <p:nvPr userDrawn="1"/>
          </p:nvSpPr>
          <p:spPr bwMode="auto">
            <a:xfrm>
              <a:off x="7259638" y="5319713"/>
              <a:ext cx="227013" cy="139700"/>
            </a:xfrm>
            <a:custGeom>
              <a:avLst/>
              <a:gdLst>
                <a:gd name="T0" fmla="*/ 140 w 140"/>
                <a:gd name="T1" fmla="*/ 33 h 86"/>
                <a:gd name="T2" fmla="*/ 140 w 140"/>
                <a:gd name="T3" fmla="*/ 33 h 86"/>
                <a:gd name="T4" fmla="*/ 82 w 140"/>
                <a:gd name="T5" fmla="*/ 0 h 86"/>
                <a:gd name="T6" fmla="*/ 71 w 140"/>
                <a:gd name="T7" fmla="*/ 25 h 86"/>
                <a:gd name="T8" fmla="*/ 17 w 140"/>
                <a:gd name="T9" fmla="*/ 2 h 86"/>
                <a:gd name="T10" fmla="*/ 0 w 140"/>
                <a:gd name="T11" fmla="*/ 4 h 86"/>
                <a:gd name="T12" fmla="*/ 0 w 140"/>
                <a:gd name="T13" fmla="*/ 5 h 86"/>
                <a:gd name="T14" fmla="*/ 140 w 140"/>
                <a:gd name="T15" fmla="*/ 86 h 86"/>
                <a:gd name="T16" fmla="*/ 140 w 140"/>
                <a:gd name="T17" fmla="*/ 86 h 86"/>
                <a:gd name="T18" fmla="*/ 140 w 140"/>
                <a:gd name="T19" fmla="*/ 3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0" h="86">
                  <a:moveTo>
                    <a:pt x="140" y="33"/>
                  </a:moveTo>
                  <a:cubicBezTo>
                    <a:pt x="140" y="33"/>
                    <a:pt x="140" y="33"/>
                    <a:pt x="140" y="3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8" y="7"/>
                    <a:pt x="74" y="16"/>
                    <a:pt x="71" y="25"/>
                  </a:cubicBezTo>
                  <a:cubicBezTo>
                    <a:pt x="57" y="11"/>
                    <a:pt x="38" y="2"/>
                    <a:pt x="17" y="2"/>
                  </a:cubicBezTo>
                  <a:cubicBezTo>
                    <a:pt x="11" y="2"/>
                    <a:pt x="5" y="3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0" y="86"/>
                    <a:pt x="140" y="86"/>
                    <a:pt x="140" y="86"/>
                  </a:cubicBezTo>
                  <a:cubicBezTo>
                    <a:pt x="140" y="86"/>
                    <a:pt x="140" y="86"/>
                    <a:pt x="140" y="86"/>
                  </a:cubicBezTo>
                  <a:lnTo>
                    <a:pt x="140" y="33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1" name="Freeform 17"/>
            <p:cNvSpPr>
              <a:spLocks/>
            </p:cNvSpPr>
            <p:nvPr userDrawn="1"/>
          </p:nvSpPr>
          <p:spPr bwMode="auto">
            <a:xfrm>
              <a:off x="7259638" y="4756151"/>
              <a:ext cx="454025" cy="523875"/>
            </a:xfrm>
            <a:custGeom>
              <a:avLst/>
              <a:gdLst>
                <a:gd name="T0" fmla="*/ 143 w 286"/>
                <a:gd name="T1" fmla="*/ 277 h 330"/>
                <a:gd name="T2" fmla="*/ 143 w 286"/>
                <a:gd name="T3" fmla="*/ 277 h 330"/>
                <a:gd name="T4" fmla="*/ 46 w 286"/>
                <a:gd name="T5" fmla="*/ 222 h 330"/>
                <a:gd name="T6" fmla="*/ 46 w 286"/>
                <a:gd name="T7" fmla="*/ 110 h 330"/>
                <a:gd name="T8" fmla="*/ 143 w 286"/>
                <a:gd name="T9" fmla="*/ 54 h 330"/>
                <a:gd name="T10" fmla="*/ 239 w 286"/>
                <a:gd name="T11" fmla="*/ 110 h 330"/>
                <a:gd name="T12" fmla="*/ 239 w 286"/>
                <a:gd name="T13" fmla="*/ 110 h 330"/>
                <a:gd name="T14" fmla="*/ 286 w 286"/>
                <a:gd name="T15" fmla="*/ 83 h 330"/>
                <a:gd name="T16" fmla="*/ 143 w 286"/>
                <a:gd name="T17" fmla="*/ 0 h 330"/>
                <a:gd name="T18" fmla="*/ 0 w 286"/>
                <a:gd name="T19" fmla="*/ 83 h 330"/>
                <a:gd name="T20" fmla="*/ 0 w 286"/>
                <a:gd name="T21" fmla="*/ 248 h 330"/>
                <a:gd name="T22" fmla="*/ 143 w 286"/>
                <a:gd name="T23" fmla="*/ 330 h 330"/>
                <a:gd name="T24" fmla="*/ 143 w 286"/>
                <a:gd name="T25" fmla="*/ 330 h 330"/>
                <a:gd name="T26" fmla="*/ 143 w 286"/>
                <a:gd name="T27" fmla="*/ 27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6" h="330">
                  <a:moveTo>
                    <a:pt x="143" y="277"/>
                  </a:moveTo>
                  <a:lnTo>
                    <a:pt x="143" y="277"/>
                  </a:lnTo>
                  <a:lnTo>
                    <a:pt x="46" y="222"/>
                  </a:lnTo>
                  <a:lnTo>
                    <a:pt x="46" y="110"/>
                  </a:lnTo>
                  <a:lnTo>
                    <a:pt x="143" y="54"/>
                  </a:lnTo>
                  <a:lnTo>
                    <a:pt x="239" y="110"/>
                  </a:lnTo>
                  <a:lnTo>
                    <a:pt x="239" y="110"/>
                  </a:lnTo>
                  <a:lnTo>
                    <a:pt x="286" y="83"/>
                  </a:lnTo>
                  <a:lnTo>
                    <a:pt x="143" y="0"/>
                  </a:lnTo>
                  <a:lnTo>
                    <a:pt x="0" y="83"/>
                  </a:lnTo>
                  <a:lnTo>
                    <a:pt x="0" y="248"/>
                  </a:lnTo>
                  <a:lnTo>
                    <a:pt x="143" y="330"/>
                  </a:lnTo>
                  <a:lnTo>
                    <a:pt x="143" y="330"/>
                  </a:lnTo>
                  <a:lnTo>
                    <a:pt x="143" y="277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2198025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accel="50000" decel="5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3.2193E-6 -4.82524E-6 L -0.10326 -4.82524E-6 " pathEditMode="relative" rAng="0" ptsTypes="AA">
                                      <p:cBhvr>
                                        <p:cTn id="14" dur="125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170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99132E-7 -9.30549E-7 L -0.00064 -0.20608 " pathEditMode="relative" rAng="0" ptsTypes="AA">
                                      <p:cBhvr>
                                        <p:cTn id="19" dur="75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-1030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4238E-8 -4.74353E-6 L -0.00064 -0.20608 " pathEditMode="relative" rAng="0" ptsTypes="AA">
                                      <p:cBhvr>
                                        <p:cTn id="24" dur="75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-1030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accel="50000" decel="5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-7.1228E-7 -4.95234E-6 L 0.00498 -0.21402 " pathEditMode="relative" rAng="0" ptsTypes="AA">
                                      <p:cBhvr>
                                        <p:cTn id="29" dur="75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3" y="-1071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6" grpId="0" animBg="1"/>
      <p:bldP spid="76" grpId="1" animBg="1"/>
    </p:bld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ANIMATED">
    <p:bg>
      <p:bgPr>
        <a:solidFill>
          <a:srgbClr val="0086A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11" name="TextBox 7"/>
          <p:cNvSpPr txBox="1"/>
          <p:nvPr userDrawn="1"/>
        </p:nvSpPr>
        <p:spPr bwMode="white">
          <a:xfrm>
            <a:off x="4392104" y="6566924"/>
            <a:ext cx="3407792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+mn-lt"/>
              </a:rPr>
              <a:t>MICROSOFT CONFIDENTIAL – INTERNAL ONLY</a:t>
            </a: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97080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39677" y="288560"/>
            <a:ext cx="3585699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Session Cod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5724454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5733410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5699116" y="122012"/>
            <a:ext cx="6122818" cy="7069081"/>
            <a:chOff x="5813395" y="124441"/>
            <a:chExt cx="6245593" cy="7209808"/>
          </a:xfrm>
        </p:grpSpPr>
        <p:pic>
          <p:nvPicPr>
            <p:cNvPr id="889" name="Picture 888"/>
            <p:cNvPicPr>
              <a:picLocks noChangeAspect="1"/>
            </p:cNvPicPr>
            <p:nvPr userDrawn="1"/>
          </p:nvPicPr>
          <p:blipFill>
            <a:blip r:embed="rId3">
              <a:lum bright="70000" contrast="-70000"/>
            </a:blip>
            <a:stretch>
              <a:fillRect/>
            </a:stretch>
          </p:blipFill>
          <p:spPr>
            <a:xfrm>
              <a:off x="6647005" y="2354262"/>
              <a:ext cx="1489168" cy="693233"/>
            </a:xfrm>
            <a:prstGeom prst="rect">
              <a:avLst/>
            </a:prstGeom>
          </p:spPr>
        </p:pic>
        <p:pic>
          <p:nvPicPr>
            <p:cNvPr id="888" name="Picture 887"/>
            <p:cNvPicPr>
              <a:picLocks noChangeAspect="1"/>
            </p:cNvPicPr>
            <p:nvPr userDrawn="1"/>
          </p:nvPicPr>
          <p:blipFill>
            <a:blip r:embed="rId3">
              <a:lum bright="70000" contrast="-70000"/>
            </a:blip>
            <a:stretch>
              <a:fillRect/>
            </a:stretch>
          </p:blipFill>
          <p:spPr>
            <a:xfrm>
              <a:off x="9191017" y="2724150"/>
              <a:ext cx="2867971" cy="1335090"/>
            </a:xfrm>
            <a:prstGeom prst="rect">
              <a:avLst/>
            </a:prstGeom>
          </p:spPr>
        </p:pic>
        <p:pic>
          <p:nvPicPr>
            <p:cNvPr id="883" name="Picture 88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133373" y="124441"/>
              <a:ext cx="3035177" cy="4104659"/>
            </a:xfrm>
            <a:prstGeom prst="rect">
              <a:avLst/>
            </a:prstGeom>
          </p:spPr>
        </p:pic>
        <p:pic>
          <p:nvPicPr>
            <p:cNvPr id="884" name="Picture 883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198644" y="1001712"/>
              <a:ext cx="3079149" cy="4083737"/>
            </a:xfrm>
            <a:prstGeom prst="rect">
              <a:avLst/>
            </a:prstGeom>
          </p:spPr>
        </p:pic>
        <p:pic>
          <p:nvPicPr>
            <p:cNvPr id="885" name="Picture 884"/>
            <p:cNvPicPr>
              <a:picLocks noChangeAspect="1"/>
            </p:cNvPicPr>
            <p:nvPr/>
          </p:nvPicPr>
          <p:blipFill>
            <a:blip r:embed="rId3">
              <a:lum bright="70000" contrast="-70000"/>
            </a:blip>
            <a:stretch>
              <a:fillRect/>
            </a:stretch>
          </p:blipFill>
          <p:spPr>
            <a:xfrm>
              <a:off x="5813395" y="2831443"/>
              <a:ext cx="3563938" cy="1659075"/>
            </a:xfrm>
            <a:prstGeom prst="rect">
              <a:avLst/>
            </a:prstGeom>
          </p:spPr>
        </p:pic>
        <p:pic>
          <p:nvPicPr>
            <p:cNvPr id="886" name="Picture 885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950974" y="3178032"/>
              <a:ext cx="3266895" cy="4156217"/>
            </a:xfrm>
            <a:prstGeom prst="rect">
              <a:avLst/>
            </a:prstGeom>
          </p:spPr>
        </p:pic>
        <p:pic>
          <p:nvPicPr>
            <p:cNvPr id="887" name="Picture 88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451355" y="4105275"/>
              <a:ext cx="1046428" cy="1449387"/>
            </a:xfrm>
            <a:prstGeom prst="rect">
              <a:avLst/>
            </a:prstGeom>
          </p:spPr>
        </p:pic>
        <p:pic>
          <p:nvPicPr>
            <p:cNvPr id="890" name="Picture 889"/>
            <p:cNvPicPr>
              <a:picLocks noChangeAspect="1"/>
            </p:cNvPicPr>
            <p:nvPr userDrawn="1"/>
          </p:nvPicPr>
          <p:blipFill>
            <a:blip r:embed="rId3">
              <a:lum bright="70000" contrast="-70000"/>
            </a:blip>
            <a:stretch>
              <a:fillRect/>
            </a:stretch>
          </p:blipFill>
          <p:spPr>
            <a:xfrm>
              <a:off x="9424683" y="5810253"/>
              <a:ext cx="906259" cy="42187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557968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455 4.96142E-6 L -4.34261E-6 4.96142E-6 " pathEditMode="relative" rAng="0" ptsTypes="AA">
                                      <p:cBhvr>
                                        <p:cTn id="9" dur="9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grpId="2" nodeType="withEffect">
                                  <p:stCondLst>
                                    <p:cond delay="5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9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3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0.01455 2.42851E-6 L -3.02783E-6 2.42851E-6 " pathEditMode="relative" rAng="0" ptsTypes="AA">
                                      <p:cBhvr>
                                        <p:cTn id="16" dur="9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6" presetClass="emph" presetSubtype="0" accel="100000" autoRev="1" fill="hold" grpId="2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18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9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3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23" dur="9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6" presetClass="emph" presetSubtype="0" accel="100000" autoRev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25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9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3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0" dur="9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6" presetClass="emph" presetSubtype="0" accel="100000" autoRev="1" fill="hold" grpId="2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32" dur="500" fill="hold"/>
                                        <p:tgtEl>
                                          <p:spTgt spid="11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9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2.13345E-6 L 1.62369E-6 2.13345E-6 " pathEditMode="relative" rAng="0" ptsTypes="AA">
                                      <p:cBhvr>
                                        <p:cTn id="37" dur="9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9" dur="500" fill="hold"/>
                                        <p:tgtEl>
                                          <p:spTgt spid="12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9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44" dur="9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6" dur="500" fill="hold"/>
                                        <p:tgtEl>
                                          <p:spTgt spid="13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1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1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1" grpId="1"/>
      <p:bldP spid="11" grpId="2"/>
      <p:bldP spid="13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1"/>
      <p:bldP spid="13" grpId="2"/>
      <p:bldP spid="12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/>
      <p:bldP spid="12" grpId="2"/>
      <p:bldP spid="9" grpId="0"/>
      <p:bldP spid="9" grpId="1"/>
      <p:bldP spid="9" grpId="2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/>
      <p:bldP spid="5" grpId="2"/>
    </p:bld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logo slide">
    <p:bg>
      <p:bgPr>
        <a:solidFill>
          <a:srgbClr val="0086A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7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83" name="Group 82"/>
          <p:cNvGrpSpPr/>
          <p:nvPr userDrawn="1"/>
        </p:nvGrpSpPr>
        <p:grpSpPr>
          <a:xfrm>
            <a:off x="8982924" y="4569925"/>
            <a:ext cx="501126" cy="772031"/>
            <a:chOff x="8189913" y="3194051"/>
            <a:chExt cx="511175" cy="787400"/>
          </a:xfrm>
        </p:grpSpPr>
        <p:sp>
          <p:nvSpPr>
            <p:cNvPr id="84" name="Freeform 65"/>
            <p:cNvSpPr>
              <a:spLocks/>
            </p:cNvSpPr>
            <p:nvPr userDrawn="1"/>
          </p:nvSpPr>
          <p:spPr bwMode="auto">
            <a:xfrm>
              <a:off x="8361363" y="3390901"/>
              <a:ext cx="169863" cy="96838"/>
            </a:xfrm>
            <a:custGeom>
              <a:avLst/>
              <a:gdLst>
                <a:gd name="T0" fmla="*/ 107 w 107"/>
                <a:gd name="T1" fmla="*/ 30 h 61"/>
                <a:gd name="T2" fmla="*/ 53 w 107"/>
                <a:gd name="T3" fmla="*/ 0 h 61"/>
                <a:gd name="T4" fmla="*/ 0 w 107"/>
                <a:gd name="T5" fmla="*/ 30 h 61"/>
                <a:gd name="T6" fmla="*/ 54 w 107"/>
                <a:gd name="T7" fmla="*/ 61 h 61"/>
                <a:gd name="T8" fmla="*/ 107 w 107"/>
                <a:gd name="T9" fmla="*/ 3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61">
                  <a:moveTo>
                    <a:pt x="107" y="30"/>
                  </a:moveTo>
                  <a:lnTo>
                    <a:pt x="53" y="0"/>
                  </a:lnTo>
                  <a:lnTo>
                    <a:pt x="0" y="30"/>
                  </a:lnTo>
                  <a:lnTo>
                    <a:pt x="54" y="61"/>
                  </a:lnTo>
                  <a:lnTo>
                    <a:pt x="107" y="3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5" name="Freeform 66"/>
            <p:cNvSpPr>
              <a:spLocks/>
            </p:cNvSpPr>
            <p:nvPr userDrawn="1"/>
          </p:nvSpPr>
          <p:spPr bwMode="auto">
            <a:xfrm>
              <a:off x="8447088" y="3340101"/>
              <a:ext cx="254000" cy="344488"/>
            </a:xfrm>
            <a:custGeom>
              <a:avLst/>
              <a:gdLst>
                <a:gd name="T0" fmla="*/ 0 w 160"/>
                <a:gd name="T1" fmla="*/ 217 h 217"/>
                <a:gd name="T2" fmla="*/ 160 w 160"/>
                <a:gd name="T3" fmla="*/ 124 h 217"/>
                <a:gd name="T4" fmla="*/ 160 w 160"/>
                <a:gd name="T5" fmla="*/ 0 h 217"/>
                <a:gd name="T6" fmla="*/ 0 w 160"/>
                <a:gd name="T7" fmla="*/ 93 h 217"/>
                <a:gd name="T8" fmla="*/ 0 w 160"/>
                <a:gd name="T9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217">
                  <a:moveTo>
                    <a:pt x="0" y="217"/>
                  </a:moveTo>
                  <a:lnTo>
                    <a:pt x="160" y="124"/>
                  </a:lnTo>
                  <a:lnTo>
                    <a:pt x="160" y="0"/>
                  </a:lnTo>
                  <a:lnTo>
                    <a:pt x="0" y="93"/>
                  </a:lnTo>
                  <a:lnTo>
                    <a:pt x="0" y="217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6" name="Freeform 67"/>
            <p:cNvSpPr>
              <a:spLocks/>
            </p:cNvSpPr>
            <p:nvPr userDrawn="1"/>
          </p:nvSpPr>
          <p:spPr bwMode="auto">
            <a:xfrm>
              <a:off x="8274050" y="3389313"/>
              <a:ext cx="173038" cy="296863"/>
            </a:xfrm>
            <a:custGeom>
              <a:avLst/>
              <a:gdLst>
                <a:gd name="T0" fmla="*/ 109 w 109"/>
                <a:gd name="T1" fmla="*/ 187 h 187"/>
                <a:gd name="T2" fmla="*/ 0 w 109"/>
                <a:gd name="T3" fmla="*/ 124 h 187"/>
                <a:gd name="T4" fmla="*/ 0 w 109"/>
                <a:gd name="T5" fmla="*/ 0 h 187"/>
                <a:gd name="T6" fmla="*/ 109 w 109"/>
                <a:gd name="T7" fmla="*/ 62 h 187"/>
                <a:gd name="T8" fmla="*/ 109 w 109"/>
                <a:gd name="T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187">
                  <a:moveTo>
                    <a:pt x="109" y="187"/>
                  </a:moveTo>
                  <a:lnTo>
                    <a:pt x="0" y="124"/>
                  </a:lnTo>
                  <a:lnTo>
                    <a:pt x="0" y="0"/>
                  </a:lnTo>
                  <a:lnTo>
                    <a:pt x="109" y="62"/>
                  </a:lnTo>
                  <a:lnTo>
                    <a:pt x="109" y="187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7" name="Freeform 68"/>
            <p:cNvSpPr>
              <a:spLocks/>
            </p:cNvSpPr>
            <p:nvPr userDrawn="1"/>
          </p:nvSpPr>
          <p:spPr bwMode="auto">
            <a:xfrm>
              <a:off x="8189913" y="3635376"/>
              <a:ext cx="150813" cy="233363"/>
            </a:xfrm>
            <a:custGeom>
              <a:avLst/>
              <a:gdLst>
                <a:gd name="T0" fmla="*/ 52 w 93"/>
                <a:gd name="T1" fmla="*/ 30 h 145"/>
                <a:gd name="T2" fmla="*/ 0 w 93"/>
                <a:gd name="T3" fmla="*/ 0 h 145"/>
                <a:gd name="T4" fmla="*/ 0 w 93"/>
                <a:gd name="T5" fmla="*/ 122 h 145"/>
                <a:gd name="T6" fmla="*/ 20 w 93"/>
                <a:gd name="T7" fmla="*/ 119 h 145"/>
                <a:gd name="T8" fmla="*/ 81 w 93"/>
                <a:gd name="T9" fmla="*/ 145 h 145"/>
                <a:gd name="T10" fmla="*/ 93 w 93"/>
                <a:gd name="T11" fmla="*/ 117 h 145"/>
                <a:gd name="T12" fmla="*/ 52 w 93"/>
                <a:gd name="T13" fmla="*/ 93 h 145"/>
                <a:gd name="T14" fmla="*/ 52 w 93"/>
                <a:gd name="T15" fmla="*/ 3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145">
                  <a:moveTo>
                    <a:pt x="52" y="3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7" y="120"/>
                    <a:pt x="13" y="119"/>
                    <a:pt x="20" y="119"/>
                  </a:cubicBezTo>
                  <a:cubicBezTo>
                    <a:pt x="44" y="119"/>
                    <a:pt x="65" y="129"/>
                    <a:pt x="81" y="145"/>
                  </a:cubicBezTo>
                  <a:cubicBezTo>
                    <a:pt x="84" y="135"/>
                    <a:pt x="88" y="125"/>
                    <a:pt x="93" y="117"/>
                  </a:cubicBezTo>
                  <a:cubicBezTo>
                    <a:pt x="52" y="93"/>
                    <a:pt x="52" y="93"/>
                    <a:pt x="52" y="93"/>
                  </a:cubicBezTo>
                  <a:lnTo>
                    <a:pt x="52" y="3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8" name="Freeform 69"/>
            <p:cNvSpPr>
              <a:spLocks/>
            </p:cNvSpPr>
            <p:nvPr userDrawn="1"/>
          </p:nvSpPr>
          <p:spPr bwMode="auto">
            <a:xfrm>
              <a:off x="8447088" y="3536951"/>
              <a:ext cx="254000" cy="244475"/>
            </a:xfrm>
            <a:custGeom>
              <a:avLst/>
              <a:gdLst>
                <a:gd name="T0" fmla="*/ 0 w 160"/>
                <a:gd name="T1" fmla="*/ 154 h 154"/>
                <a:gd name="T2" fmla="*/ 160 w 160"/>
                <a:gd name="T3" fmla="*/ 62 h 154"/>
                <a:gd name="T4" fmla="*/ 160 w 160"/>
                <a:gd name="T5" fmla="*/ 0 h 154"/>
                <a:gd name="T6" fmla="*/ 0 w 160"/>
                <a:gd name="T7" fmla="*/ 94 h 154"/>
                <a:gd name="T8" fmla="*/ 0 w 160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154">
                  <a:moveTo>
                    <a:pt x="0" y="154"/>
                  </a:moveTo>
                  <a:lnTo>
                    <a:pt x="160" y="62"/>
                  </a:lnTo>
                  <a:lnTo>
                    <a:pt x="160" y="0"/>
                  </a:lnTo>
                  <a:lnTo>
                    <a:pt x="0" y="94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9" name="Freeform 70"/>
            <p:cNvSpPr>
              <a:spLocks/>
            </p:cNvSpPr>
            <p:nvPr userDrawn="1"/>
          </p:nvSpPr>
          <p:spPr bwMode="auto">
            <a:xfrm>
              <a:off x="8447088" y="3633788"/>
              <a:ext cx="254000" cy="347663"/>
            </a:xfrm>
            <a:custGeom>
              <a:avLst/>
              <a:gdLst>
                <a:gd name="T0" fmla="*/ 0 w 160"/>
                <a:gd name="T1" fmla="*/ 219 h 219"/>
                <a:gd name="T2" fmla="*/ 160 w 160"/>
                <a:gd name="T3" fmla="*/ 125 h 219"/>
                <a:gd name="T4" fmla="*/ 160 w 160"/>
                <a:gd name="T5" fmla="*/ 0 h 219"/>
                <a:gd name="T6" fmla="*/ 0 w 160"/>
                <a:gd name="T7" fmla="*/ 93 h 219"/>
                <a:gd name="T8" fmla="*/ 0 w 160"/>
                <a:gd name="T9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219">
                  <a:moveTo>
                    <a:pt x="0" y="219"/>
                  </a:moveTo>
                  <a:lnTo>
                    <a:pt x="160" y="125"/>
                  </a:lnTo>
                  <a:lnTo>
                    <a:pt x="160" y="0"/>
                  </a:lnTo>
                  <a:lnTo>
                    <a:pt x="0" y="93"/>
                  </a:lnTo>
                  <a:lnTo>
                    <a:pt x="0" y="21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0" name="Freeform 71"/>
            <p:cNvSpPr>
              <a:spLocks/>
            </p:cNvSpPr>
            <p:nvPr userDrawn="1"/>
          </p:nvSpPr>
          <p:spPr bwMode="auto">
            <a:xfrm>
              <a:off x="8189913" y="3824288"/>
              <a:ext cx="257175" cy="155575"/>
            </a:xfrm>
            <a:custGeom>
              <a:avLst/>
              <a:gdLst>
                <a:gd name="T0" fmla="*/ 158 w 158"/>
                <a:gd name="T1" fmla="*/ 37 h 96"/>
                <a:gd name="T2" fmla="*/ 158 w 158"/>
                <a:gd name="T3" fmla="*/ 37 h 96"/>
                <a:gd name="T4" fmla="*/ 93 w 158"/>
                <a:gd name="T5" fmla="*/ 0 h 96"/>
                <a:gd name="T6" fmla="*/ 81 w 158"/>
                <a:gd name="T7" fmla="*/ 28 h 96"/>
                <a:gd name="T8" fmla="*/ 20 w 158"/>
                <a:gd name="T9" fmla="*/ 2 h 96"/>
                <a:gd name="T10" fmla="*/ 0 w 158"/>
                <a:gd name="T11" fmla="*/ 5 h 96"/>
                <a:gd name="T12" fmla="*/ 0 w 158"/>
                <a:gd name="T13" fmla="*/ 5 h 96"/>
                <a:gd name="T14" fmla="*/ 158 w 158"/>
                <a:gd name="T15" fmla="*/ 96 h 96"/>
                <a:gd name="T16" fmla="*/ 158 w 158"/>
                <a:gd name="T17" fmla="*/ 96 h 96"/>
                <a:gd name="T18" fmla="*/ 158 w 158"/>
                <a:gd name="T19" fmla="*/ 3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96">
                  <a:moveTo>
                    <a:pt x="158" y="37"/>
                  </a:moveTo>
                  <a:cubicBezTo>
                    <a:pt x="158" y="37"/>
                    <a:pt x="158" y="37"/>
                    <a:pt x="158" y="37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88" y="8"/>
                    <a:pt x="84" y="18"/>
                    <a:pt x="81" y="28"/>
                  </a:cubicBezTo>
                  <a:cubicBezTo>
                    <a:pt x="65" y="12"/>
                    <a:pt x="44" y="2"/>
                    <a:pt x="20" y="2"/>
                  </a:cubicBezTo>
                  <a:cubicBezTo>
                    <a:pt x="13" y="2"/>
                    <a:pt x="7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58" y="96"/>
                    <a:pt x="158" y="96"/>
                    <a:pt x="158" y="96"/>
                  </a:cubicBezTo>
                  <a:cubicBezTo>
                    <a:pt x="158" y="96"/>
                    <a:pt x="158" y="96"/>
                    <a:pt x="158" y="96"/>
                  </a:cubicBezTo>
                  <a:lnTo>
                    <a:pt x="158" y="37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1" name="Freeform 72"/>
            <p:cNvSpPr>
              <a:spLocks/>
            </p:cNvSpPr>
            <p:nvPr userDrawn="1"/>
          </p:nvSpPr>
          <p:spPr bwMode="auto">
            <a:xfrm>
              <a:off x="8189913" y="3194051"/>
              <a:ext cx="511175" cy="587375"/>
            </a:xfrm>
            <a:custGeom>
              <a:avLst/>
              <a:gdLst>
                <a:gd name="T0" fmla="*/ 162 w 322"/>
                <a:gd name="T1" fmla="*/ 309 h 370"/>
                <a:gd name="T2" fmla="*/ 162 w 322"/>
                <a:gd name="T3" fmla="*/ 309 h 370"/>
                <a:gd name="T4" fmla="*/ 53 w 322"/>
                <a:gd name="T5" fmla="*/ 247 h 370"/>
                <a:gd name="T6" fmla="*/ 53 w 322"/>
                <a:gd name="T7" fmla="*/ 123 h 370"/>
                <a:gd name="T8" fmla="*/ 162 w 322"/>
                <a:gd name="T9" fmla="*/ 60 h 370"/>
                <a:gd name="T10" fmla="*/ 270 w 322"/>
                <a:gd name="T11" fmla="*/ 123 h 370"/>
                <a:gd name="T12" fmla="*/ 270 w 322"/>
                <a:gd name="T13" fmla="*/ 123 h 370"/>
                <a:gd name="T14" fmla="*/ 322 w 322"/>
                <a:gd name="T15" fmla="*/ 92 h 370"/>
                <a:gd name="T16" fmla="*/ 162 w 322"/>
                <a:gd name="T17" fmla="*/ 0 h 370"/>
                <a:gd name="T18" fmla="*/ 0 w 322"/>
                <a:gd name="T19" fmla="*/ 92 h 370"/>
                <a:gd name="T20" fmla="*/ 0 w 322"/>
                <a:gd name="T21" fmla="*/ 278 h 370"/>
                <a:gd name="T22" fmla="*/ 162 w 322"/>
                <a:gd name="T23" fmla="*/ 370 h 370"/>
                <a:gd name="T24" fmla="*/ 162 w 322"/>
                <a:gd name="T25" fmla="*/ 370 h 370"/>
                <a:gd name="T26" fmla="*/ 162 w 322"/>
                <a:gd name="T27" fmla="*/ 309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370">
                  <a:moveTo>
                    <a:pt x="162" y="309"/>
                  </a:moveTo>
                  <a:lnTo>
                    <a:pt x="162" y="309"/>
                  </a:lnTo>
                  <a:lnTo>
                    <a:pt x="53" y="247"/>
                  </a:lnTo>
                  <a:lnTo>
                    <a:pt x="53" y="123"/>
                  </a:lnTo>
                  <a:lnTo>
                    <a:pt x="162" y="60"/>
                  </a:lnTo>
                  <a:lnTo>
                    <a:pt x="270" y="123"/>
                  </a:lnTo>
                  <a:lnTo>
                    <a:pt x="270" y="123"/>
                  </a:lnTo>
                  <a:lnTo>
                    <a:pt x="322" y="92"/>
                  </a:lnTo>
                  <a:lnTo>
                    <a:pt x="162" y="0"/>
                  </a:lnTo>
                  <a:lnTo>
                    <a:pt x="0" y="92"/>
                  </a:lnTo>
                  <a:lnTo>
                    <a:pt x="0" y="278"/>
                  </a:lnTo>
                  <a:lnTo>
                    <a:pt x="162" y="370"/>
                  </a:lnTo>
                  <a:lnTo>
                    <a:pt x="162" y="370"/>
                  </a:lnTo>
                  <a:lnTo>
                    <a:pt x="162" y="30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92" name="Group 91"/>
          <p:cNvGrpSpPr/>
          <p:nvPr userDrawn="1"/>
        </p:nvGrpSpPr>
        <p:grpSpPr>
          <a:xfrm>
            <a:off x="5434576" y="4734915"/>
            <a:ext cx="449769" cy="695761"/>
            <a:chOff x="4570413" y="3209926"/>
            <a:chExt cx="458788" cy="709612"/>
          </a:xfrm>
        </p:grpSpPr>
        <p:sp>
          <p:nvSpPr>
            <p:cNvPr id="93" name="Freeform 21"/>
            <p:cNvSpPr>
              <a:spLocks/>
            </p:cNvSpPr>
            <p:nvPr userDrawn="1"/>
          </p:nvSpPr>
          <p:spPr bwMode="auto">
            <a:xfrm>
              <a:off x="4721225" y="3386138"/>
              <a:ext cx="153988" cy="88900"/>
            </a:xfrm>
            <a:custGeom>
              <a:avLst/>
              <a:gdLst>
                <a:gd name="T0" fmla="*/ 97 w 97"/>
                <a:gd name="T1" fmla="*/ 28 h 56"/>
                <a:gd name="T2" fmla="*/ 49 w 97"/>
                <a:gd name="T3" fmla="*/ 0 h 56"/>
                <a:gd name="T4" fmla="*/ 0 w 97"/>
                <a:gd name="T5" fmla="*/ 28 h 56"/>
                <a:gd name="T6" fmla="*/ 49 w 97"/>
                <a:gd name="T7" fmla="*/ 56 h 56"/>
                <a:gd name="T8" fmla="*/ 97 w 97"/>
                <a:gd name="T9" fmla="*/ 2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56">
                  <a:moveTo>
                    <a:pt x="97" y="28"/>
                  </a:moveTo>
                  <a:lnTo>
                    <a:pt x="49" y="0"/>
                  </a:lnTo>
                  <a:lnTo>
                    <a:pt x="0" y="28"/>
                  </a:lnTo>
                  <a:lnTo>
                    <a:pt x="49" y="56"/>
                  </a:lnTo>
                  <a:lnTo>
                    <a:pt x="97" y="28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4" name="Freeform 22"/>
            <p:cNvSpPr>
              <a:spLocks/>
            </p:cNvSpPr>
            <p:nvPr userDrawn="1"/>
          </p:nvSpPr>
          <p:spPr bwMode="auto">
            <a:xfrm>
              <a:off x="4799013" y="3341688"/>
              <a:ext cx="230188" cy="311150"/>
            </a:xfrm>
            <a:custGeom>
              <a:avLst/>
              <a:gdLst>
                <a:gd name="T0" fmla="*/ 0 w 145"/>
                <a:gd name="T1" fmla="*/ 196 h 196"/>
                <a:gd name="T2" fmla="*/ 145 w 145"/>
                <a:gd name="T3" fmla="*/ 111 h 196"/>
                <a:gd name="T4" fmla="*/ 145 w 145"/>
                <a:gd name="T5" fmla="*/ 0 h 196"/>
                <a:gd name="T6" fmla="*/ 0 w 145"/>
                <a:gd name="T7" fmla="*/ 84 h 196"/>
                <a:gd name="T8" fmla="*/ 0 w 145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96">
                  <a:moveTo>
                    <a:pt x="0" y="196"/>
                  </a:moveTo>
                  <a:lnTo>
                    <a:pt x="145" y="111"/>
                  </a:lnTo>
                  <a:lnTo>
                    <a:pt x="145" y="0"/>
                  </a:lnTo>
                  <a:lnTo>
                    <a:pt x="0" y="84"/>
                  </a:lnTo>
                  <a:lnTo>
                    <a:pt x="0" y="19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5" name="Freeform 23"/>
            <p:cNvSpPr>
              <a:spLocks/>
            </p:cNvSpPr>
            <p:nvPr userDrawn="1"/>
          </p:nvSpPr>
          <p:spPr bwMode="auto">
            <a:xfrm>
              <a:off x="4645025" y="3386138"/>
              <a:ext cx="153988" cy="266700"/>
            </a:xfrm>
            <a:custGeom>
              <a:avLst/>
              <a:gdLst>
                <a:gd name="T0" fmla="*/ 97 w 97"/>
                <a:gd name="T1" fmla="*/ 168 h 168"/>
                <a:gd name="T2" fmla="*/ 0 w 97"/>
                <a:gd name="T3" fmla="*/ 112 h 168"/>
                <a:gd name="T4" fmla="*/ 0 w 97"/>
                <a:gd name="T5" fmla="*/ 0 h 168"/>
                <a:gd name="T6" fmla="*/ 97 w 97"/>
                <a:gd name="T7" fmla="*/ 56 h 168"/>
                <a:gd name="T8" fmla="*/ 97 w 97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68">
                  <a:moveTo>
                    <a:pt x="97" y="168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97" y="56"/>
                  </a:lnTo>
                  <a:lnTo>
                    <a:pt x="97" y="168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6" name="Freeform 24"/>
            <p:cNvSpPr>
              <a:spLocks/>
            </p:cNvSpPr>
            <p:nvPr userDrawn="1"/>
          </p:nvSpPr>
          <p:spPr bwMode="auto">
            <a:xfrm>
              <a:off x="4570413" y="3606801"/>
              <a:ext cx="134938" cy="212725"/>
            </a:xfrm>
            <a:custGeom>
              <a:avLst/>
              <a:gdLst>
                <a:gd name="T0" fmla="*/ 46 w 84"/>
                <a:gd name="T1" fmla="*/ 27 h 131"/>
                <a:gd name="T2" fmla="*/ 0 w 84"/>
                <a:gd name="T3" fmla="*/ 0 h 131"/>
                <a:gd name="T4" fmla="*/ 0 w 84"/>
                <a:gd name="T5" fmla="*/ 110 h 131"/>
                <a:gd name="T6" fmla="*/ 17 w 84"/>
                <a:gd name="T7" fmla="*/ 108 h 131"/>
                <a:gd name="T8" fmla="*/ 72 w 84"/>
                <a:gd name="T9" fmla="*/ 131 h 131"/>
                <a:gd name="T10" fmla="*/ 84 w 84"/>
                <a:gd name="T11" fmla="*/ 105 h 131"/>
                <a:gd name="T12" fmla="*/ 46 w 84"/>
                <a:gd name="T13" fmla="*/ 84 h 131"/>
                <a:gd name="T14" fmla="*/ 46 w 84"/>
                <a:gd name="T15" fmla="*/ 2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31">
                  <a:moveTo>
                    <a:pt x="46" y="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5" y="108"/>
                    <a:pt x="11" y="108"/>
                    <a:pt x="17" y="108"/>
                  </a:cubicBezTo>
                  <a:cubicBezTo>
                    <a:pt x="39" y="108"/>
                    <a:pt x="58" y="117"/>
                    <a:pt x="72" y="131"/>
                  </a:cubicBezTo>
                  <a:cubicBezTo>
                    <a:pt x="75" y="122"/>
                    <a:pt x="79" y="113"/>
                    <a:pt x="84" y="105"/>
                  </a:cubicBezTo>
                  <a:cubicBezTo>
                    <a:pt x="46" y="84"/>
                    <a:pt x="46" y="84"/>
                    <a:pt x="46" y="84"/>
                  </a:cubicBezTo>
                  <a:lnTo>
                    <a:pt x="46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7" name="Freeform 25"/>
            <p:cNvSpPr>
              <a:spLocks/>
            </p:cNvSpPr>
            <p:nvPr userDrawn="1"/>
          </p:nvSpPr>
          <p:spPr bwMode="auto">
            <a:xfrm>
              <a:off x="4799013" y="3517901"/>
              <a:ext cx="230188" cy="222250"/>
            </a:xfrm>
            <a:custGeom>
              <a:avLst/>
              <a:gdLst>
                <a:gd name="T0" fmla="*/ 0 w 145"/>
                <a:gd name="T1" fmla="*/ 140 h 140"/>
                <a:gd name="T2" fmla="*/ 145 w 145"/>
                <a:gd name="T3" fmla="*/ 56 h 140"/>
                <a:gd name="T4" fmla="*/ 145 w 145"/>
                <a:gd name="T5" fmla="*/ 0 h 140"/>
                <a:gd name="T6" fmla="*/ 0 w 145"/>
                <a:gd name="T7" fmla="*/ 86 h 140"/>
                <a:gd name="T8" fmla="*/ 0 w 145"/>
                <a:gd name="T9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40">
                  <a:moveTo>
                    <a:pt x="0" y="140"/>
                  </a:moveTo>
                  <a:lnTo>
                    <a:pt x="145" y="56"/>
                  </a:lnTo>
                  <a:lnTo>
                    <a:pt x="145" y="0"/>
                  </a:lnTo>
                  <a:lnTo>
                    <a:pt x="0" y="86"/>
                  </a:lnTo>
                  <a:lnTo>
                    <a:pt x="0" y="140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8" name="Freeform 26"/>
            <p:cNvSpPr>
              <a:spLocks/>
            </p:cNvSpPr>
            <p:nvPr userDrawn="1"/>
          </p:nvSpPr>
          <p:spPr bwMode="auto">
            <a:xfrm>
              <a:off x="4799013" y="3605213"/>
              <a:ext cx="230188" cy="314325"/>
            </a:xfrm>
            <a:custGeom>
              <a:avLst/>
              <a:gdLst>
                <a:gd name="T0" fmla="*/ 0 w 145"/>
                <a:gd name="T1" fmla="*/ 198 h 198"/>
                <a:gd name="T2" fmla="*/ 145 w 145"/>
                <a:gd name="T3" fmla="*/ 113 h 198"/>
                <a:gd name="T4" fmla="*/ 145 w 145"/>
                <a:gd name="T5" fmla="*/ 0 h 198"/>
                <a:gd name="T6" fmla="*/ 0 w 145"/>
                <a:gd name="T7" fmla="*/ 85 h 198"/>
                <a:gd name="T8" fmla="*/ 0 w 145"/>
                <a:gd name="T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98">
                  <a:moveTo>
                    <a:pt x="0" y="198"/>
                  </a:moveTo>
                  <a:lnTo>
                    <a:pt x="145" y="113"/>
                  </a:lnTo>
                  <a:lnTo>
                    <a:pt x="145" y="0"/>
                  </a:lnTo>
                  <a:lnTo>
                    <a:pt x="0" y="85"/>
                  </a:lnTo>
                  <a:lnTo>
                    <a:pt x="0" y="1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9" name="Freeform 27"/>
            <p:cNvSpPr>
              <a:spLocks/>
            </p:cNvSpPr>
            <p:nvPr userDrawn="1"/>
          </p:nvSpPr>
          <p:spPr bwMode="auto">
            <a:xfrm>
              <a:off x="4570413" y="3776663"/>
              <a:ext cx="228600" cy="142875"/>
            </a:xfrm>
            <a:custGeom>
              <a:avLst/>
              <a:gdLst>
                <a:gd name="T0" fmla="*/ 142 w 142"/>
                <a:gd name="T1" fmla="*/ 34 h 88"/>
                <a:gd name="T2" fmla="*/ 142 w 142"/>
                <a:gd name="T3" fmla="*/ 34 h 88"/>
                <a:gd name="T4" fmla="*/ 84 w 142"/>
                <a:gd name="T5" fmla="*/ 0 h 88"/>
                <a:gd name="T6" fmla="*/ 72 w 142"/>
                <a:gd name="T7" fmla="*/ 26 h 88"/>
                <a:gd name="T8" fmla="*/ 17 w 142"/>
                <a:gd name="T9" fmla="*/ 3 h 88"/>
                <a:gd name="T10" fmla="*/ 0 w 142"/>
                <a:gd name="T11" fmla="*/ 5 h 88"/>
                <a:gd name="T12" fmla="*/ 0 w 142"/>
                <a:gd name="T13" fmla="*/ 5 h 88"/>
                <a:gd name="T14" fmla="*/ 142 w 142"/>
                <a:gd name="T15" fmla="*/ 88 h 88"/>
                <a:gd name="T16" fmla="*/ 142 w 142"/>
                <a:gd name="T17" fmla="*/ 88 h 88"/>
                <a:gd name="T18" fmla="*/ 142 w 142"/>
                <a:gd name="T19" fmla="*/ 3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" h="88">
                  <a:moveTo>
                    <a:pt x="142" y="34"/>
                  </a:moveTo>
                  <a:cubicBezTo>
                    <a:pt x="142" y="34"/>
                    <a:pt x="142" y="34"/>
                    <a:pt x="142" y="34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79" y="8"/>
                    <a:pt x="75" y="17"/>
                    <a:pt x="72" y="26"/>
                  </a:cubicBezTo>
                  <a:cubicBezTo>
                    <a:pt x="58" y="12"/>
                    <a:pt x="39" y="3"/>
                    <a:pt x="17" y="3"/>
                  </a:cubicBezTo>
                  <a:cubicBezTo>
                    <a:pt x="11" y="3"/>
                    <a:pt x="5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2" y="88"/>
                    <a:pt x="142" y="88"/>
                    <a:pt x="142" y="88"/>
                  </a:cubicBezTo>
                  <a:cubicBezTo>
                    <a:pt x="142" y="88"/>
                    <a:pt x="142" y="88"/>
                    <a:pt x="142" y="88"/>
                  </a:cubicBezTo>
                  <a:lnTo>
                    <a:pt x="142" y="34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0" name="Freeform 28"/>
            <p:cNvSpPr>
              <a:spLocks/>
            </p:cNvSpPr>
            <p:nvPr userDrawn="1"/>
          </p:nvSpPr>
          <p:spPr bwMode="auto">
            <a:xfrm>
              <a:off x="4570413" y="3209926"/>
              <a:ext cx="458788" cy="530225"/>
            </a:xfrm>
            <a:custGeom>
              <a:avLst/>
              <a:gdLst>
                <a:gd name="T0" fmla="*/ 144 w 289"/>
                <a:gd name="T1" fmla="*/ 279 h 334"/>
                <a:gd name="T2" fmla="*/ 144 w 289"/>
                <a:gd name="T3" fmla="*/ 279 h 334"/>
                <a:gd name="T4" fmla="*/ 47 w 289"/>
                <a:gd name="T5" fmla="*/ 223 h 334"/>
                <a:gd name="T6" fmla="*/ 47 w 289"/>
                <a:gd name="T7" fmla="*/ 110 h 334"/>
                <a:gd name="T8" fmla="*/ 144 w 289"/>
                <a:gd name="T9" fmla="*/ 54 h 334"/>
                <a:gd name="T10" fmla="*/ 242 w 289"/>
                <a:gd name="T11" fmla="*/ 110 h 334"/>
                <a:gd name="T12" fmla="*/ 242 w 289"/>
                <a:gd name="T13" fmla="*/ 111 h 334"/>
                <a:gd name="T14" fmla="*/ 289 w 289"/>
                <a:gd name="T15" fmla="*/ 83 h 334"/>
                <a:gd name="T16" fmla="*/ 144 w 289"/>
                <a:gd name="T17" fmla="*/ 0 h 334"/>
                <a:gd name="T18" fmla="*/ 0 w 289"/>
                <a:gd name="T19" fmla="*/ 83 h 334"/>
                <a:gd name="T20" fmla="*/ 0 w 289"/>
                <a:gd name="T21" fmla="*/ 250 h 334"/>
                <a:gd name="T22" fmla="*/ 144 w 289"/>
                <a:gd name="T23" fmla="*/ 334 h 334"/>
                <a:gd name="T24" fmla="*/ 144 w 289"/>
                <a:gd name="T25" fmla="*/ 334 h 334"/>
                <a:gd name="T26" fmla="*/ 144 w 289"/>
                <a:gd name="T27" fmla="*/ 279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9" h="334">
                  <a:moveTo>
                    <a:pt x="144" y="279"/>
                  </a:moveTo>
                  <a:lnTo>
                    <a:pt x="144" y="279"/>
                  </a:lnTo>
                  <a:lnTo>
                    <a:pt x="47" y="223"/>
                  </a:lnTo>
                  <a:lnTo>
                    <a:pt x="47" y="110"/>
                  </a:lnTo>
                  <a:lnTo>
                    <a:pt x="144" y="54"/>
                  </a:lnTo>
                  <a:lnTo>
                    <a:pt x="242" y="110"/>
                  </a:lnTo>
                  <a:lnTo>
                    <a:pt x="242" y="111"/>
                  </a:lnTo>
                  <a:lnTo>
                    <a:pt x="289" y="83"/>
                  </a:lnTo>
                  <a:lnTo>
                    <a:pt x="144" y="0"/>
                  </a:lnTo>
                  <a:lnTo>
                    <a:pt x="0" y="83"/>
                  </a:lnTo>
                  <a:lnTo>
                    <a:pt x="0" y="250"/>
                  </a:lnTo>
                  <a:lnTo>
                    <a:pt x="144" y="334"/>
                  </a:lnTo>
                  <a:lnTo>
                    <a:pt x="144" y="334"/>
                  </a:lnTo>
                  <a:lnTo>
                    <a:pt x="144" y="2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101" name="Freeform 6"/>
          <p:cNvSpPr>
            <a:spLocks/>
          </p:cNvSpPr>
          <p:nvPr userDrawn="1"/>
        </p:nvSpPr>
        <p:spPr bwMode="auto">
          <a:xfrm>
            <a:off x="9233487" y="2228929"/>
            <a:ext cx="2009175" cy="807831"/>
          </a:xfrm>
          <a:custGeom>
            <a:avLst/>
            <a:gdLst>
              <a:gd name="T0" fmla="*/ 1131 w 1266"/>
              <a:gd name="T1" fmla="*/ 241 h 510"/>
              <a:gd name="T2" fmla="*/ 1108 w 1266"/>
              <a:gd name="T3" fmla="*/ 241 h 510"/>
              <a:gd name="T4" fmla="*/ 853 w 1266"/>
              <a:gd name="T5" fmla="*/ 0 h 510"/>
              <a:gd name="T6" fmla="*/ 605 w 1266"/>
              <a:gd name="T7" fmla="*/ 188 h 510"/>
              <a:gd name="T8" fmla="*/ 469 w 1266"/>
              <a:gd name="T9" fmla="*/ 131 h 510"/>
              <a:gd name="T10" fmla="*/ 280 w 1266"/>
              <a:gd name="T11" fmla="*/ 303 h 510"/>
              <a:gd name="T12" fmla="*/ 192 w 1266"/>
              <a:gd name="T13" fmla="*/ 344 h 510"/>
              <a:gd name="T14" fmla="*/ 107 w 1266"/>
              <a:gd name="T15" fmla="*/ 300 h 510"/>
              <a:gd name="T16" fmla="*/ 0 w 1266"/>
              <a:gd name="T17" fmla="*/ 404 h 510"/>
              <a:gd name="T18" fmla="*/ 107 w 1266"/>
              <a:gd name="T19" fmla="*/ 510 h 510"/>
              <a:gd name="T20" fmla="*/ 135 w 1266"/>
              <a:gd name="T21" fmla="*/ 510 h 510"/>
              <a:gd name="T22" fmla="*/ 482 w 1266"/>
              <a:gd name="T23" fmla="*/ 510 h 510"/>
              <a:gd name="T24" fmla="*/ 674 w 1266"/>
              <a:gd name="T25" fmla="*/ 510 h 510"/>
              <a:gd name="T26" fmla="*/ 1140 w 1266"/>
              <a:gd name="T27" fmla="*/ 510 h 510"/>
              <a:gd name="T28" fmla="*/ 1140 w 1266"/>
              <a:gd name="T29" fmla="*/ 510 h 510"/>
              <a:gd name="T30" fmla="*/ 1266 w 1266"/>
              <a:gd name="T31" fmla="*/ 375 h 510"/>
              <a:gd name="T32" fmla="*/ 1131 w 1266"/>
              <a:gd name="T33" fmla="*/ 241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266" h="510">
                <a:moveTo>
                  <a:pt x="1131" y="241"/>
                </a:moveTo>
                <a:cubicBezTo>
                  <a:pt x="1124" y="241"/>
                  <a:pt x="1118" y="241"/>
                  <a:pt x="1108" y="241"/>
                </a:cubicBezTo>
                <a:cubicBezTo>
                  <a:pt x="1102" y="106"/>
                  <a:pt x="992" y="0"/>
                  <a:pt x="853" y="0"/>
                </a:cubicBezTo>
                <a:cubicBezTo>
                  <a:pt x="734" y="0"/>
                  <a:pt x="636" y="81"/>
                  <a:pt x="605" y="188"/>
                </a:cubicBezTo>
                <a:cubicBezTo>
                  <a:pt x="570" y="153"/>
                  <a:pt x="523" y="131"/>
                  <a:pt x="469" y="131"/>
                </a:cubicBezTo>
                <a:cubicBezTo>
                  <a:pt x="372" y="131"/>
                  <a:pt x="290" y="206"/>
                  <a:pt x="280" y="303"/>
                </a:cubicBezTo>
                <a:cubicBezTo>
                  <a:pt x="249" y="307"/>
                  <a:pt x="217" y="322"/>
                  <a:pt x="192" y="344"/>
                </a:cubicBezTo>
                <a:cubicBezTo>
                  <a:pt x="173" y="316"/>
                  <a:pt x="142" y="300"/>
                  <a:pt x="107" y="300"/>
                </a:cubicBezTo>
                <a:cubicBezTo>
                  <a:pt x="47" y="300"/>
                  <a:pt x="0" y="347"/>
                  <a:pt x="0" y="404"/>
                </a:cubicBezTo>
                <a:cubicBezTo>
                  <a:pt x="0" y="463"/>
                  <a:pt x="47" y="510"/>
                  <a:pt x="107" y="510"/>
                </a:cubicBezTo>
                <a:cubicBezTo>
                  <a:pt x="135" y="510"/>
                  <a:pt x="135" y="510"/>
                  <a:pt x="135" y="510"/>
                </a:cubicBezTo>
                <a:cubicBezTo>
                  <a:pt x="482" y="510"/>
                  <a:pt x="482" y="510"/>
                  <a:pt x="482" y="510"/>
                </a:cubicBezTo>
                <a:cubicBezTo>
                  <a:pt x="674" y="510"/>
                  <a:pt x="674" y="510"/>
                  <a:pt x="674" y="510"/>
                </a:cubicBezTo>
                <a:cubicBezTo>
                  <a:pt x="1140" y="510"/>
                  <a:pt x="1140" y="510"/>
                  <a:pt x="1140" y="510"/>
                </a:cubicBezTo>
                <a:cubicBezTo>
                  <a:pt x="1140" y="510"/>
                  <a:pt x="1140" y="510"/>
                  <a:pt x="1140" y="510"/>
                </a:cubicBezTo>
                <a:cubicBezTo>
                  <a:pt x="1209" y="504"/>
                  <a:pt x="1266" y="447"/>
                  <a:pt x="1266" y="375"/>
                </a:cubicBezTo>
                <a:cubicBezTo>
                  <a:pt x="1266" y="300"/>
                  <a:pt x="1206" y="241"/>
                  <a:pt x="1131" y="24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grpSp>
        <p:nvGrpSpPr>
          <p:cNvPr id="102" name="Group 101"/>
          <p:cNvGrpSpPr/>
          <p:nvPr userDrawn="1"/>
        </p:nvGrpSpPr>
        <p:grpSpPr>
          <a:xfrm>
            <a:off x="1004585" y="2308309"/>
            <a:ext cx="3321130" cy="437381"/>
            <a:chOff x="1092200" y="1960563"/>
            <a:chExt cx="3387726" cy="446088"/>
          </a:xfrm>
        </p:grpSpPr>
        <p:sp>
          <p:nvSpPr>
            <p:cNvPr id="103" name="Freeform 33"/>
            <p:cNvSpPr>
              <a:spLocks/>
            </p:cNvSpPr>
            <p:nvPr userDrawn="1"/>
          </p:nvSpPr>
          <p:spPr bwMode="auto">
            <a:xfrm>
              <a:off x="1092200" y="1981201"/>
              <a:ext cx="344488" cy="317500"/>
            </a:xfrm>
            <a:custGeom>
              <a:avLst/>
              <a:gdLst>
                <a:gd name="T0" fmla="*/ 181 w 213"/>
                <a:gd name="T1" fmla="*/ 197 h 197"/>
                <a:gd name="T2" fmla="*/ 181 w 213"/>
                <a:gd name="T3" fmla="*/ 72 h 197"/>
                <a:gd name="T4" fmla="*/ 182 w 213"/>
                <a:gd name="T5" fmla="*/ 29 h 197"/>
                <a:gd name="T6" fmla="*/ 182 w 213"/>
                <a:gd name="T7" fmla="*/ 29 h 197"/>
                <a:gd name="T8" fmla="*/ 176 w 213"/>
                <a:gd name="T9" fmla="*/ 51 h 197"/>
                <a:gd name="T10" fmla="*/ 117 w 213"/>
                <a:gd name="T11" fmla="*/ 197 h 197"/>
                <a:gd name="T12" fmla="*/ 95 w 213"/>
                <a:gd name="T13" fmla="*/ 197 h 197"/>
                <a:gd name="T14" fmla="*/ 35 w 213"/>
                <a:gd name="T15" fmla="*/ 53 h 197"/>
                <a:gd name="T16" fmla="*/ 30 w 213"/>
                <a:gd name="T17" fmla="*/ 29 h 197"/>
                <a:gd name="T18" fmla="*/ 29 w 213"/>
                <a:gd name="T19" fmla="*/ 29 h 197"/>
                <a:gd name="T20" fmla="*/ 30 w 213"/>
                <a:gd name="T21" fmla="*/ 49 h 197"/>
                <a:gd name="T22" fmla="*/ 30 w 213"/>
                <a:gd name="T23" fmla="*/ 76 h 197"/>
                <a:gd name="T24" fmla="*/ 30 w 213"/>
                <a:gd name="T25" fmla="*/ 197 h 197"/>
                <a:gd name="T26" fmla="*/ 0 w 213"/>
                <a:gd name="T27" fmla="*/ 197 h 197"/>
                <a:gd name="T28" fmla="*/ 0 w 213"/>
                <a:gd name="T29" fmla="*/ 0 h 197"/>
                <a:gd name="T30" fmla="*/ 47 w 213"/>
                <a:gd name="T31" fmla="*/ 0 h 197"/>
                <a:gd name="T32" fmla="*/ 97 w 213"/>
                <a:gd name="T33" fmla="*/ 124 h 197"/>
                <a:gd name="T34" fmla="*/ 106 w 213"/>
                <a:gd name="T35" fmla="*/ 152 h 197"/>
                <a:gd name="T36" fmla="*/ 106 w 213"/>
                <a:gd name="T37" fmla="*/ 152 h 197"/>
                <a:gd name="T38" fmla="*/ 117 w 213"/>
                <a:gd name="T39" fmla="*/ 124 h 197"/>
                <a:gd name="T40" fmla="*/ 168 w 213"/>
                <a:gd name="T41" fmla="*/ 0 h 197"/>
                <a:gd name="T42" fmla="*/ 213 w 213"/>
                <a:gd name="T43" fmla="*/ 0 h 197"/>
                <a:gd name="T44" fmla="*/ 213 w 213"/>
                <a:gd name="T45" fmla="*/ 197 h 197"/>
                <a:gd name="T46" fmla="*/ 181 w 213"/>
                <a:gd name="T4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3" h="197">
                  <a:moveTo>
                    <a:pt x="181" y="197"/>
                  </a:moveTo>
                  <a:cubicBezTo>
                    <a:pt x="181" y="72"/>
                    <a:pt x="181" y="72"/>
                    <a:pt x="181" y="72"/>
                  </a:cubicBezTo>
                  <a:cubicBezTo>
                    <a:pt x="181" y="62"/>
                    <a:pt x="181" y="48"/>
                    <a:pt x="182" y="29"/>
                  </a:cubicBezTo>
                  <a:cubicBezTo>
                    <a:pt x="182" y="29"/>
                    <a:pt x="182" y="29"/>
                    <a:pt x="182" y="29"/>
                  </a:cubicBezTo>
                  <a:cubicBezTo>
                    <a:pt x="180" y="39"/>
                    <a:pt x="178" y="47"/>
                    <a:pt x="176" y="51"/>
                  </a:cubicBezTo>
                  <a:cubicBezTo>
                    <a:pt x="117" y="197"/>
                    <a:pt x="117" y="197"/>
                    <a:pt x="117" y="197"/>
                  </a:cubicBezTo>
                  <a:cubicBezTo>
                    <a:pt x="95" y="197"/>
                    <a:pt x="95" y="197"/>
                    <a:pt x="95" y="197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4" y="48"/>
                    <a:pt x="32" y="40"/>
                    <a:pt x="30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32"/>
                    <a:pt x="29" y="38"/>
                    <a:pt x="30" y="49"/>
                  </a:cubicBezTo>
                  <a:cubicBezTo>
                    <a:pt x="30" y="59"/>
                    <a:pt x="30" y="68"/>
                    <a:pt x="30" y="76"/>
                  </a:cubicBezTo>
                  <a:cubicBezTo>
                    <a:pt x="30" y="197"/>
                    <a:pt x="30" y="197"/>
                    <a:pt x="30" y="197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97" y="124"/>
                    <a:pt x="97" y="124"/>
                    <a:pt x="97" y="124"/>
                  </a:cubicBezTo>
                  <a:cubicBezTo>
                    <a:pt x="101" y="136"/>
                    <a:pt x="104" y="146"/>
                    <a:pt x="106" y="152"/>
                  </a:cubicBezTo>
                  <a:cubicBezTo>
                    <a:pt x="106" y="152"/>
                    <a:pt x="106" y="152"/>
                    <a:pt x="106" y="152"/>
                  </a:cubicBezTo>
                  <a:cubicBezTo>
                    <a:pt x="117" y="124"/>
                    <a:pt x="117" y="124"/>
                    <a:pt x="117" y="124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213" y="197"/>
                    <a:pt x="213" y="197"/>
                    <a:pt x="213" y="197"/>
                  </a:cubicBezTo>
                  <a:lnTo>
                    <a:pt x="181" y="1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4" name="Freeform 34"/>
            <p:cNvSpPr>
              <a:spLocks noEditPoints="1"/>
            </p:cNvSpPr>
            <p:nvPr userDrawn="1"/>
          </p:nvSpPr>
          <p:spPr bwMode="auto">
            <a:xfrm>
              <a:off x="1495425" y="2066926"/>
              <a:ext cx="233363" cy="236538"/>
            </a:xfrm>
            <a:custGeom>
              <a:avLst/>
              <a:gdLst>
                <a:gd name="T0" fmla="*/ 145 w 145"/>
                <a:gd name="T1" fmla="*/ 72 h 147"/>
                <a:gd name="T2" fmla="*/ 125 w 145"/>
                <a:gd name="T3" fmla="*/ 127 h 147"/>
                <a:gd name="T4" fmla="*/ 71 w 145"/>
                <a:gd name="T5" fmla="*/ 147 h 147"/>
                <a:gd name="T6" fmla="*/ 19 w 145"/>
                <a:gd name="T7" fmla="*/ 128 h 147"/>
                <a:gd name="T8" fmla="*/ 0 w 145"/>
                <a:gd name="T9" fmla="*/ 75 h 147"/>
                <a:gd name="T10" fmla="*/ 20 w 145"/>
                <a:gd name="T11" fmla="*/ 20 h 147"/>
                <a:gd name="T12" fmla="*/ 75 w 145"/>
                <a:gd name="T13" fmla="*/ 0 h 147"/>
                <a:gd name="T14" fmla="*/ 126 w 145"/>
                <a:gd name="T15" fmla="*/ 19 h 147"/>
                <a:gd name="T16" fmla="*/ 145 w 145"/>
                <a:gd name="T17" fmla="*/ 72 h 147"/>
                <a:gd name="T18" fmla="*/ 112 w 145"/>
                <a:gd name="T19" fmla="*/ 73 h 147"/>
                <a:gd name="T20" fmla="*/ 101 w 145"/>
                <a:gd name="T21" fmla="*/ 38 h 147"/>
                <a:gd name="T22" fmla="*/ 73 w 145"/>
                <a:gd name="T23" fmla="*/ 26 h 147"/>
                <a:gd name="T24" fmla="*/ 44 w 145"/>
                <a:gd name="T25" fmla="*/ 39 h 147"/>
                <a:gd name="T26" fmla="*/ 33 w 145"/>
                <a:gd name="T27" fmla="*/ 74 h 147"/>
                <a:gd name="T28" fmla="*/ 44 w 145"/>
                <a:gd name="T29" fmla="*/ 109 h 147"/>
                <a:gd name="T30" fmla="*/ 73 w 145"/>
                <a:gd name="T31" fmla="*/ 121 h 147"/>
                <a:gd name="T32" fmla="*/ 102 w 145"/>
                <a:gd name="T33" fmla="*/ 109 h 147"/>
                <a:gd name="T34" fmla="*/ 112 w 145"/>
                <a:gd name="T35" fmla="*/ 73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5" h="147">
                  <a:moveTo>
                    <a:pt x="145" y="72"/>
                  </a:moveTo>
                  <a:cubicBezTo>
                    <a:pt x="145" y="95"/>
                    <a:pt x="138" y="113"/>
                    <a:pt x="125" y="127"/>
                  </a:cubicBezTo>
                  <a:cubicBezTo>
                    <a:pt x="112" y="141"/>
                    <a:pt x="94" y="147"/>
                    <a:pt x="71" y="147"/>
                  </a:cubicBezTo>
                  <a:cubicBezTo>
                    <a:pt x="50" y="147"/>
                    <a:pt x="32" y="141"/>
                    <a:pt x="19" y="128"/>
                  </a:cubicBezTo>
                  <a:cubicBezTo>
                    <a:pt x="7" y="115"/>
                    <a:pt x="0" y="97"/>
                    <a:pt x="0" y="75"/>
                  </a:cubicBezTo>
                  <a:cubicBezTo>
                    <a:pt x="0" y="52"/>
                    <a:pt x="7" y="34"/>
                    <a:pt x="20" y="20"/>
                  </a:cubicBezTo>
                  <a:cubicBezTo>
                    <a:pt x="33" y="7"/>
                    <a:pt x="51" y="0"/>
                    <a:pt x="75" y="0"/>
                  </a:cubicBezTo>
                  <a:cubicBezTo>
                    <a:pt x="97" y="0"/>
                    <a:pt x="114" y="6"/>
                    <a:pt x="126" y="19"/>
                  </a:cubicBezTo>
                  <a:cubicBezTo>
                    <a:pt x="139" y="32"/>
                    <a:pt x="145" y="50"/>
                    <a:pt x="145" y="72"/>
                  </a:cubicBezTo>
                  <a:close/>
                  <a:moveTo>
                    <a:pt x="112" y="73"/>
                  </a:moveTo>
                  <a:cubicBezTo>
                    <a:pt x="112" y="58"/>
                    <a:pt x="108" y="46"/>
                    <a:pt x="101" y="38"/>
                  </a:cubicBezTo>
                  <a:cubicBezTo>
                    <a:pt x="94" y="30"/>
                    <a:pt x="85" y="26"/>
                    <a:pt x="73" y="26"/>
                  </a:cubicBezTo>
                  <a:cubicBezTo>
                    <a:pt x="60" y="26"/>
                    <a:pt x="51" y="30"/>
                    <a:pt x="44" y="39"/>
                  </a:cubicBezTo>
                  <a:cubicBezTo>
                    <a:pt x="37" y="47"/>
                    <a:pt x="33" y="59"/>
                    <a:pt x="33" y="74"/>
                  </a:cubicBezTo>
                  <a:cubicBezTo>
                    <a:pt x="33" y="89"/>
                    <a:pt x="37" y="101"/>
                    <a:pt x="44" y="109"/>
                  </a:cubicBezTo>
                  <a:cubicBezTo>
                    <a:pt x="51" y="117"/>
                    <a:pt x="61" y="121"/>
                    <a:pt x="73" y="121"/>
                  </a:cubicBezTo>
                  <a:cubicBezTo>
                    <a:pt x="86" y="121"/>
                    <a:pt x="95" y="117"/>
                    <a:pt x="102" y="109"/>
                  </a:cubicBezTo>
                  <a:cubicBezTo>
                    <a:pt x="108" y="101"/>
                    <a:pt x="112" y="89"/>
                    <a:pt x="112" y="7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5" name="Freeform 35"/>
            <p:cNvSpPr>
              <a:spLocks noEditPoints="1"/>
            </p:cNvSpPr>
            <p:nvPr userDrawn="1"/>
          </p:nvSpPr>
          <p:spPr bwMode="auto">
            <a:xfrm>
              <a:off x="1765300" y="1962151"/>
              <a:ext cx="222250" cy="341313"/>
            </a:xfrm>
            <a:custGeom>
              <a:avLst/>
              <a:gdLst>
                <a:gd name="T0" fmla="*/ 105 w 137"/>
                <a:gd name="T1" fmla="*/ 208 h 211"/>
                <a:gd name="T2" fmla="*/ 105 w 137"/>
                <a:gd name="T3" fmla="*/ 186 h 211"/>
                <a:gd name="T4" fmla="*/ 105 w 137"/>
                <a:gd name="T5" fmla="*/ 186 h 211"/>
                <a:gd name="T6" fmla="*/ 58 w 137"/>
                <a:gd name="T7" fmla="*/ 211 h 211"/>
                <a:gd name="T8" fmla="*/ 16 w 137"/>
                <a:gd name="T9" fmla="*/ 192 h 211"/>
                <a:gd name="T10" fmla="*/ 0 w 137"/>
                <a:gd name="T11" fmla="*/ 141 h 211"/>
                <a:gd name="T12" fmla="*/ 18 w 137"/>
                <a:gd name="T13" fmla="*/ 85 h 211"/>
                <a:gd name="T14" fmla="*/ 65 w 137"/>
                <a:gd name="T15" fmla="*/ 64 h 211"/>
                <a:gd name="T16" fmla="*/ 88 w 137"/>
                <a:gd name="T17" fmla="*/ 69 h 211"/>
                <a:gd name="T18" fmla="*/ 105 w 137"/>
                <a:gd name="T19" fmla="*/ 85 h 211"/>
                <a:gd name="T20" fmla="*/ 105 w 137"/>
                <a:gd name="T21" fmla="*/ 85 h 211"/>
                <a:gd name="T22" fmla="*/ 105 w 137"/>
                <a:gd name="T23" fmla="*/ 0 h 211"/>
                <a:gd name="T24" fmla="*/ 137 w 137"/>
                <a:gd name="T25" fmla="*/ 0 h 211"/>
                <a:gd name="T26" fmla="*/ 137 w 137"/>
                <a:gd name="T27" fmla="*/ 208 h 211"/>
                <a:gd name="T28" fmla="*/ 105 w 137"/>
                <a:gd name="T29" fmla="*/ 208 h 211"/>
                <a:gd name="T30" fmla="*/ 105 w 137"/>
                <a:gd name="T31" fmla="*/ 126 h 211"/>
                <a:gd name="T32" fmla="*/ 95 w 137"/>
                <a:gd name="T33" fmla="*/ 100 h 211"/>
                <a:gd name="T34" fmla="*/ 71 w 137"/>
                <a:gd name="T35" fmla="*/ 90 h 211"/>
                <a:gd name="T36" fmla="*/ 43 w 137"/>
                <a:gd name="T37" fmla="*/ 103 h 211"/>
                <a:gd name="T38" fmla="*/ 33 w 137"/>
                <a:gd name="T39" fmla="*/ 140 h 211"/>
                <a:gd name="T40" fmla="*/ 43 w 137"/>
                <a:gd name="T41" fmla="*/ 173 h 211"/>
                <a:gd name="T42" fmla="*/ 69 w 137"/>
                <a:gd name="T43" fmla="*/ 185 h 211"/>
                <a:gd name="T44" fmla="*/ 95 w 137"/>
                <a:gd name="T45" fmla="*/ 173 h 211"/>
                <a:gd name="T46" fmla="*/ 105 w 137"/>
                <a:gd name="T47" fmla="*/ 142 h 211"/>
                <a:gd name="T48" fmla="*/ 105 w 137"/>
                <a:gd name="T49" fmla="*/ 126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7" h="211">
                  <a:moveTo>
                    <a:pt x="105" y="208"/>
                  </a:moveTo>
                  <a:cubicBezTo>
                    <a:pt x="105" y="186"/>
                    <a:pt x="105" y="186"/>
                    <a:pt x="105" y="186"/>
                  </a:cubicBezTo>
                  <a:cubicBezTo>
                    <a:pt x="105" y="186"/>
                    <a:pt x="105" y="186"/>
                    <a:pt x="105" y="186"/>
                  </a:cubicBezTo>
                  <a:cubicBezTo>
                    <a:pt x="95" y="203"/>
                    <a:pt x="79" y="211"/>
                    <a:pt x="58" y="211"/>
                  </a:cubicBezTo>
                  <a:cubicBezTo>
                    <a:pt x="41" y="211"/>
                    <a:pt x="27" y="205"/>
                    <a:pt x="16" y="192"/>
                  </a:cubicBezTo>
                  <a:cubicBezTo>
                    <a:pt x="5" y="180"/>
                    <a:pt x="0" y="163"/>
                    <a:pt x="0" y="141"/>
                  </a:cubicBezTo>
                  <a:cubicBezTo>
                    <a:pt x="0" y="118"/>
                    <a:pt x="6" y="99"/>
                    <a:pt x="18" y="85"/>
                  </a:cubicBezTo>
                  <a:cubicBezTo>
                    <a:pt x="29" y="71"/>
                    <a:pt x="45" y="64"/>
                    <a:pt x="65" y="64"/>
                  </a:cubicBezTo>
                  <a:cubicBezTo>
                    <a:pt x="74" y="64"/>
                    <a:pt x="81" y="66"/>
                    <a:pt x="88" y="69"/>
                  </a:cubicBezTo>
                  <a:cubicBezTo>
                    <a:pt x="95" y="73"/>
                    <a:pt x="101" y="78"/>
                    <a:pt x="105" y="85"/>
                  </a:cubicBezTo>
                  <a:cubicBezTo>
                    <a:pt x="105" y="85"/>
                    <a:pt x="105" y="85"/>
                    <a:pt x="105" y="85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7" y="208"/>
                    <a:pt x="137" y="208"/>
                    <a:pt x="137" y="208"/>
                  </a:cubicBezTo>
                  <a:lnTo>
                    <a:pt x="105" y="208"/>
                  </a:lnTo>
                  <a:close/>
                  <a:moveTo>
                    <a:pt x="105" y="126"/>
                  </a:moveTo>
                  <a:cubicBezTo>
                    <a:pt x="105" y="116"/>
                    <a:pt x="102" y="107"/>
                    <a:pt x="95" y="100"/>
                  </a:cubicBezTo>
                  <a:cubicBezTo>
                    <a:pt x="89" y="93"/>
                    <a:pt x="81" y="90"/>
                    <a:pt x="71" y="90"/>
                  </a:cubicBezTo>
                  <a:cubicBezTo>
                    <a:pt x="59" y="90"/>
                    <a:pt x="50" y="94"/>
                    <a:pt x="43" y="103"/>
                  </a:cubicBezTo>
                  <a:cubicBezTo>
                    <a:pt x="36" y="112"/>
                    <a:pt x="33" y="124"/>
                    <a:pt x="33" y="140"/>
                  </a:cubicBezTo>
                  <a:cubicBezTo>
                    <a:pt x="33" y="154"/>
                    <a:pt x="36" y="165"/>
                    <a:pt x="43" y="173"/>
                  </a:cubicBezTo>
                  <a:cubicBezTo>
                    <a:pt x="49" y="181"/>
                    <a:pt x="58" y="185"/>
                    <a:pt x="69" y="185"/>
                  </a:cubicBezTo>
                  <a:cubicBezTo>
                    <a:pt x="79" y="185"/>
                    <a:pt x="88" y="181"/>
                    <a:pt x="95" y="173"/>
                  </a:cubicBezTo>
                  <a:cubicBezTo>
                    <a:pt x="102" y="165"/>
                    <a:pt x="105" y="155"/>
                    <a:pt x="105" y="142"/>
                  </a:cubicBezTo>
                  <a:lnTo>
                    <a:pt x="105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6" name="Freeform 36"/>
            <p:cNvSpPr>
              <a:spLocks noEditPoints="1"/>
            </p:cNvSpPr>
            <p:nvPr userDrawn="1"/>
          </p:nvSpPr>
          <p:spPr bwMode="auto">
            <a:xfrm>
              <a:off x="2039938" y="2066926"/>
              <a:ext cx="207963" cy="236538"/>
            </a:xfrm>
            <a:custGeom>
              <a:avLst/>
              <a:gdLst>
                <a:gd name="T0" fmla="*/ 32 w 128"/>
                <a:gd name="T1" fmla="*/ 83 h 147"/>
                <a:gd name="T2" fmla="*/ 44 w 128"/>
                <a:gd name="T3" fmla="*/ 112 h 147"/>
                <a:gd name="T4" fmla="*/ 75 w 128"/>
                <a:gd name="T5" fmla="*/ 122 h 147"/>
                <a:gd name="T6" fmla="*/ 98 w 128"/>
                <a:gd name="T7" fmla="*/ 118 h 147"/>
                <a:gd name="T8" fmla="*/ 117 w 128"/>
                <a:gd name="T9" fmla="*/ 109 h 147"/>
                <a:gd name="T10" fmla="*/ 117 w 128"/>
                <a:gd name="T11" fmla="*/ 136 h 147"/>
                <a:gd name="T12" fmla="*/ 95 w 128"/>
                <a:gd name="T13" fmla="*/ 144 h 147"/>
                <a:gd name="T14" fmla="*/ 67 w 128"/>
                <a:gd name="T15" fmla="*/ 147 h 147"/>
                <a:gd name="T16" fmla="*/ 17 w 128"/>
                <a:gd name="T17" fmla="*/ 128 h 147"/>
                <a:gd name="T18" fmla="*/ 0 w 128"/>
                <a:gd name="T19" fmla="*/ 75 h 147"/>
                <a:gd name="T20" fmla="*/ 9 w 128"/>
                <a:gd name="T21" fmla="*/ 36 h 147"/>
                <a:gd name="T22" fmla="*/ 33 w 128"/>
                <a:gd name="T23" fmla="*/ 9 h 147"/>
                <a:gd name="T24" fmla="*/ 67 w 128"/>
                <a:gd name="T25" fmla="*/ 0 h 147"/>
                <a:gd name="T26" fmla="*/ 112 w 128"/>
                <a:gd name="T27" fmla="*/ 18 h 147"/>
                <a:gd name="T28" fmla="*/ 128 w 128"/>
                <a:gd name="T29" fmla="*/ 67 h 147"/>
                <a:gd name="T30" fmla="*/ 128 w 128"/>
                <a:gd name="T31" fmla="*/ 83 h 147"/>
                <a:gd name="T32" fmla="*/ 32 w 128"/>
                <a:gd name="T33" fmla="*/ 83 h 147"/>
                <a:gd name="T34" fmla="*/ 97 w 128"/>
                <a:gd name="T35" fmla="*/ 59 h 147"/>
                <a:gd name="T36" fmla="*/ 89 w 128"/>
                <a:gd name="T37" fmla="*/ 34 h 147"/>
                <a:gd name="T38" fmla="*/ 67 w 128"/>
                <a:gd name="T39" fmla="*/ 25 h 147"/>
                <a:gd name="T40" fmla="*/ 44 w 128"/>
                <a:gd name="T41" fmla="*/ 34 h 147"/>
                <a:gd name="T42" fmla="*/ 32 w 128"/>
                <a:gd name="T43" fmla="*/ 59 h 147"/>
                <a:gd name="T44" fmla="*/ 97 w 128"/>
                <a:gd name="T45" fmla="*/ 59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8" h="147">
                  <a:moveTo>
                    <a:pt x="32" y="83"/>
                  </a:moveTo>
                  <a:cubicBezTo>
                    <a:pt x="33" y="96"/>
                    <a:pt x="37" y="106"/>
                    <a:pt x="44" y="112"/>
                  </a:cubicBezTo>
                  <a:cubicBezTo>
                    <a:pt x="51" y="119"/>
                    <a:pt x="61" y="122"/>
                    <a:pt x="75" y="122"/>
                  </a:cubicBezTo>
                  <a:cubicBezTo>
                    <a:pt x="83" y="122"/>
                    <a:pt x="90" y="121"/>
                    <a:pt x="98" y="118"/>
                  </a:cubicBezTo>
                  <a:cubicBezTo>
                    <a:pt x="105" y="116"/>
                    <a:pt x="111" y="113"/>
                    <a:pt x="117" y="109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2" y="139"/>
                    <a:pt x="104" y="142"/>
                    <a:pt x="95" y="144"/>
                  </a:cubicBezTo>
                  <a:cubicBezTo>
                    <a:pt x="86" y="146"/>
                    <a:pt x="77" y="147"/>
                    <a:pt x="67" y="147"/>
                  </a:cubicBezTo>
                  <a:cubicBezTo>
                    <a:pt x="46" y="147"/>
                    <a:pt x="29" y="141"/>
                    <a:pt x="17" y="128"/>
                  </a:cubicBezTo>
                  <a:cubicBezTo>
                    <a:pt x="6" y="115"/>
                    <a:pt x="0" y="98"/>
                    <a:pt x="0" y="75"/>
                  </a:cubicBezTo>
                  <a:cubicBezTo>
                    <a:pt x="0" y="60"/>
                    <a:pt x="3" y="47"/>
                    <a:pt x="9" y="36"/>
                  </a:cubicBezTo>
                  <a:cubicBezTo>
                    <a:pt x="14" y="24"/>
                    <a:pt x="22" y="16"/>
                    <a:pt x="33" y="9"/>
                  </a:cubicBezTo>
                  <a:cubicBezTo>
                    <a:pt x="43" y="3"/>
                    <a:pt x="54" y="0"/>
                    <a:pt x="67" y="0"/>
                  </a:cubicBezTo>
                  <a:cubicBezTo>
                    <a:pt x="86" y="0"/>
                    <a:pt x="101" y="6"/>
                    <a:pt x="112" y="18"/>
                  </a:cubicBezTo>
                  <a:cubicBezTo>
                    <a:pt x="123" y="30"/>
                    <a:pt x="128" y="46"/>
                    <a:pt x="128" y="67"/>
                  </a:cubicBezTo>
                  <a:cubicBezTo>
                    <a:pt x="128" y="83"/>
                    <a:pt x="128" y="83"/>
                    <a:pt x="128" y="83"/>
                  </a:cubicBezTo>
                  <a:lnTo>
                    <a:pt x="32" y="83"/>
                  </a:lnTo>
                  <a:close/>
                  <a:moveTo>
                    <a:pt x="97" y="59"/>
                  </a:moveTo>
                  <a:cubicBezTo>
                    <a:pt x="97" y="48"/>
                    <a:pt x="94" y="39"/>
                    <a:pt x="89" y="34"/>
                  </a:cubicBezTo>
                  <a:cubicBezTo>
                    <a:pt x="83" y="28"/>
                    <a:pt x="76" y="25"/>
                    <a:pt x="67" y="25"/>
                  </a:cubicBezTo>
                  <a:cubicBezTo>
                    <a:pt x="58" y="25"/>
                    <a:pt x="51" y="28"/>
                    <a:pt x="44" y="34"/>
                  </a:cubicBezTo>
                  <a:cubicBezTo>
                    <a:pt x="38" y="41"/>
                    <a:pt x="34" y="49"/>
                    <a:pt x="32" y="59"/>
                  </a:cubicBezTo>
                  <a:lnTo>
                    <a:pt x="97" y="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7" name="Freeform 37"/>
            <p:cNvSpPr>
              <a:spLocks/>
            </p:cNvSpPr>
            <p:nvPr userDrawn="1"/>
          </p:nvSpPr>
          <p:spPr bwMode="auto">
            <a:xfrm>
              <a:off x="2295525" y="2068513"/>
              <a:ext cx="131763" cy="230188"/>
            </a:xfrm>
            <a:custGeom>
              <a:avLst/>
              <a:gdLst>
                <a:gd name="T0" fmla="*/ 81 w 81"/>
                <a:gd name="T1" fmla="*/ 33 h 143"/>
                <a:gd name="T2" fmla="*/ 73 w 81"/>
                <a:gd name="T3" fmla="*/ 30 h 143"/>
                <a:gd name="T4" fmla="*/ 63 w 81"/>
                <a:gd name="T5" fmla="*/ 28 h 143"/>
                <a:gd name="T6" fmla="*/ 41 w 81"/>
                <a:gd name="T7" fmla="*/ 40 h 143"/>
                <a:gd name="T8" fmla="*/ 32 w 81"/>
                <a:gd name="T9" fmla="*/ 71 h 143"/>
                <a:gd name="T10" fmla="*/ 32 w 81"/>
                <a:gd name="T11" fmla="*/ 143 h 143"/>
                <a:gd name="T12" fmla="*/ 0 w 81"/>
                <a:gd name="T13" fmla="*/ 143 h 143"/>
                <a:gd name="T14" fmla="*/ 0 w 81"/>
                <a:gd name="T15" fmla="*/ 2 h 143"/>
                <a:gd name="T16" fmla="*/ 32 w 81"/>
                <a:gd name="T17" fmla="*/ 2 h 143"/>
                <a:gd name="T18" fmla="*/ 32 w 81"/>
                <a:gd name="T19" fmla="*/ 30 h 143"/>
                <a:gd name="T20" fmla="*/ 33 w 81"/>
                <a:gd name="T21" fmla="*/ 30 h 143"/>
                <a:gd name="T22" fmla="*/ 47 w 81"/>
                <a:gd name="T23" fmla="*/ 8 h 143"/>
                <a:gd name="T24" fmla="*/ 69 w 81"/>
                <a:gd name="T25" fmla="*/ 0 h 143"/>
                <a:gd name="T26" fmla="*/ 81 w 81"/>
                <a:gd name="T27" fmla="*/ 2 h 143"/>
                <a:gd name="T28" fmla="*/ 81 w 81"/>
                <a:gd name="T29" fmla="*/ 3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1" h="143">
                  <a:moveTo>
                    <a:pt x="81" y="33"/>
                  </a:moveTo>
                  <a:cubicBezTo>
                    <a:pt x="80" y="32"/>
                    <a:pt x="77" y="31"/>
                    <a:pt x="73" y="30"/>
                  </a:cubicBezTo>
                  <a:cubicBezTo>
                    <a:pt x="70" y="29"/>
                    <a:pt x="66" y="28"/>
                    <a:pt x="63" y="28"/>
                  </a:cubicBezTo>
                  <a:cubicBezTo>
                    <a:pt x="54" y="28"/>
                    <a:pt x="46" y="32"/>
                    <a:pt x="41" y="40"/>
                  </a:cubicBezTo>
                  <a:cubicBezTo>
                    <a:pt x="35" y="48"/>
                    <a:pt x="32" y="58"/>
                    <a:pt x="32" y="71"/>
                  </a:cubicBezTo>
                  <a:cubicBezTo>
                    <a:pt x="32" y="143"/>
                    <a:pt x="32" y="143"/>
                    <a:pt x="32" y="143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6" y="20"/>
                    <a:pt x="41" y="13"/>
                    <a:pt x="47" y="8"/>
                  </a:cubicBezTo>
                  <a:cubicBezTo>
                    <a:pt x="53" y="2"/>
                    <a:pt x="60" y="0"/>
                    <a:pt x="69" y="0"/>
                  </a:cubicBezTo>
                  <a:cubicBezTo>
                    <a:pt x="74" y="0"/>
                    <a:pt x="78" y="1"/>
                    <a:pt x="81" y="2"/>
                  </a:cubicBezTo>
                  <a:lnTo>
                    <a:pt x="81" y="3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8" name="Freeform 38"/>
            <p:cNvSpPr>
              <a:spLocks/>
            </p:cNvSpPr>
            <p:nvPr userDrawn="1"/>
          </p:nvSpPr>
          <p:spPr bwMode="auto">
            <a:xfrm>
              <a:off x="2466975" y="2066926"/>
              <a:ext cx="201613" cy="231775"/>
            </a:xfrm>
            <a:custGeom>
              <a:avLst/>
              <a:gdLst>
                <a:gd name="T0" fmla="*/ 93 w 125"/>
                <a:gd name="T1" fmla="*/ 144 h 144"/>
                <a:gd name="T2" fmla="*/ 93 w 125"/>
                <a:gd name="T3" fmla="*/ 65 h 144"/>
                <a:gd name="T4" fmla="*/ 86 w 125"/>
                <a:gd name="T5" fmla="*/ 36 h 144"/>
                <a:gd name="T6" fmla="*/ 65 w 125"/>
                <a:gd name="T7" fmla="*/ 26 h 144"/>
                <a:gd name="T8" fmla="*/ 41 w 125"/>
                <a:gd name="T9" fmla="*/ 37 h 144"/>
                <a:gd name="T10" fmla="*/ 32 w 125"/>
                <a:gd name="T11" fmla="*/ 64 h 144"/>
                <a:gd name="T12" fmla="*/ 32 w 125"/>
                <a:gd name="T13" fmla="*/ 144 h 144"/>
                <a:gd name="T14" fmla="*/ 0 w 125"/>
                <a:gd name="T15" fmla="*/ 144 h 144"/>
                <a:gd name="T16" fmla="*/ 0 w 125"/>
                <a:gd name="T17" fmla="*/ 3 h 144"/>
                <a:gd name="T18" fmla="*/ 32 w 125"/>
                <a:gd name="T19" fmla="*/ 3 h 144"/>
                <a:gd name="T20" fmla="*/ 32 w 125"/>
                <a:gd name="T21" fmla="*/ 26 h 144"/>
                <a:gd name="T22" fmla="*/ 32 w 125"/>
                <a:gd name="T23" fmla="*/ 26 h 144"/>
                <a:gd name="T24" fmla="*/ 78 w 125"/>
                <a:gd name="T25" fmla="*/ 0 h 144"/>
                <a:gd name="T26" fmla="*/ 112 w 125"/>
                <a:gd name="T27" fmla="*/ 14 h 144"/>
                <a:gd name="T28" fmla="*/ 125 w 125"/>
                <a:gd name="T29" fmla="*/ 58 h 144"/>
                <a:gd name="T30" fmla="*/ 125 w 125"/>
                <a:gd name="T31" fmla="*/ 144 h 144"/>
                <a:gd name="T32" fmla="*/ 93 w 125"/>
                <a:gd name="T3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144">
                  <a:moveTo>
                    <a:pt x="93" y="144"/>
                  </a:moveTo>
                  <a:cubicBezTo>
                    <a:pt x="93" y="65"/>
                    <a:pt x="93" y="65"/>
                    <a:pt x="93" y="65"/>
                  </a:cubicBezTo>
                  <a:cubicBezTo>
                    <a:pt x="93" y="52"/>
                    <a:pt x="91" y="42"/>
                    <a:pt x="86" y="36"/>
                  </a:cubicBezTo>
                  <a:cubicBezTo>
                    <a:pt x="82" y="29"/>
                    <a:pt x="75" y="26"/>
                    <a:pt x="65" y="26"/>
                  </a:cubicBezTo>
                  <a:cubicBezTo>
                    <a:pt x="55" y="26"/>
                    <a:pt x="47" y="30"/>
                    <a:pt x="41" y="37"/>
                  </a:cubicBezTo>
                  <a:cubicBezTo>
                    <a:pt x="35" y="44"/>
                    <a:pt x="32" y="53"/>
                    <a:pt x="32" y="64"/>
                  </a:cubicBezTo>
                  <a:cubicBezTo>
                    <a:pt x="32" y="144"/>
                    <a:pt x="32" y="144"/>
                    <a:pt x="32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43" y="9"/>
                    <a:pt x="58" y="0"/>
                    <a:pt x="78" y="0"/>
                  </a:cubicBezTo>
                  <a:cubicBezTo>
                    <a:pt x="93" y="0"/>
                    <a:pt x="104" y="5"/>
                    <a:pt x="112" y="14"/>
                  </a:cubicBezTo>
                  <a:cubicBezTo>
                    <a:pt x="121" y="24"/>
                    <a:pt x="125" y="38"/>
                    <a:pt x="125" y="58"/>
                  </a:cubicBezTo>
                  <a:cubicBezTo>
                    <a:pt x="125" y="144"/>
                    <a:pt x="125" y="144"/>
                    <a:pt x="125" y="144"/>
                  </a:cubicBezTo>
                  <a:lnTo>
                    <a:pt x="93" y="1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9" name="Freeform 39"/>
            <p:cNvSpPr>
              <a:spLocks noEditPoints="1"/>
            </p:cNvSpPr>
            <p:nvPr userDrawn="1"/>
          </p:nvSpPr>
          <p:spPr bwMode="auto">
            <a:xfrm>
              <a:off x="2727325" y="1960563"/>
              <a:ext cx="63500" cy="338138"/>
            </a:xfrm>
            <a:custGeom>
              <a:avLst/>
              <a:gdLst>
                <a:gd name="T0" fmla="*/ 39 w 39"/>
                <a:gd name="T1" fmla="*/ 19 h 209"/>
                <a:gd name="T2" fmla="*/ 33 w 39"/>
                <a:gd name="T3" fmla="*/ 32 h 209"/>
                <a:gd name="T4" fmla="*/ 20 w 39"/>
                <a:gd name="T5" fmla="*/ 37 h 209"/>
                <a:gd name="T6" fmla="*/ 6 w 39"/>
                <a:gd name="T7" fmla="*/ 32 h 209"/>
                <a:gd name="T8" fmla="*/ 0 w 39"/>
                <a:gd name="T9" fmla="*/ 19 h 209"/>
                <a:gd name="T10" fmla="*/ 6 w 39"/>
                <a:gd name="T11" fmla="*/ 5 h 209"/>
                <a:gd name="T12" fmla="*/ 20 w 39"/>
                <a:gd name="T13" fmla="*/ 0 h 209"/>
                <a:gd name="T14" fmla="*/ 33 w 39"/>
                <a:gd name="T15" fmla="*/ 5 h 209"/>
                <a:gd name="T16" fmla="*/ 39 w 39"/>
                <a:gd name="T17" fmla="*/ 19 h 209"/>
                <a:gd name="T18" fmla="*/ 3 w 39"/>
                <a:gd name="T19" fmla="*/ 209 h 209"/>
                <a:gd name="T20" fmla="*/ 3 w 39"/>
                <a:gd name="T21" fmla="*/ 68 h 209"/>
                <a:gd name="T22" fmla="*/ 35 w 39"/>
                <a:gd name="T23" fmla="*/ 68 h 209"/>
                <a:gd name="T24" fmla="*/ 35 w 39"/>
                <a:gd name="T25" fmla="*/ 209 h 209"/>
                <a:gd name="T26" fmla="*/ 3 w 39"/>
                <a:gd name="T27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209">
                  <a:moveTo>
                    <a:pt x="39" y="19"/>
                  </a:moveTo>
                  <a:cubicBezTo>
                    <a:pt x="39" y="24"/>
                    <a:pt x="37" y="28"/>
                    <a:pt x="33" y="32"/>
                  </a:cubicBezTo>
                  <a:cubicBezTo>
                    <a:pt x="30" y="35"/>
                    <a:pt x="25" y="37"/>
                    <a:pt x="20" y="37"/>
                  </a:cubicBezTo>
                  <a:cubicBezTo>
                    <a:pt x="14" y="37"/>
                    <a:pt x="10" y="35"/>
                    <a:pt x="6" y="32"/>
                  </a:cubicBezTo>
                  <a:cubicBezTo>
                    <a:pt x="2" y="28"/>
                    <a:pt x="0" y="24"/>
                    <a:pt x="0" y="19"/>
                  </a:cubicBezTo>
                  <a:cubicBezTo>
                    <a:pt x="0" y="13"/>
                    <a:pt x="2" y="9"/>
                    <a:pt x="6" y="5"/>
                  </a:cubicBezTo>
                  <a:cubicBezTo>
                    <a:pt x="10" y="2"/>
                    <a:pt x="14" y="0"/>
                    <a:pt x="20" y="0"/>
                  </a:cubicBezTo>
                  <a:cubicBezTo>
                    <a:pt x="25" y="0"/>
                    <a:pt x="30" y="2"/>
                    <a:pt x="33" y="5"/>
                  </a:cubicBezTo>
                  <a:cubicBezTo>
                    <a:pt x="37" y="9"/>
                    <a:pt x="39" y="14"/>
                    <a:pt x="39" y="19"/>
                  </a:cubicBezTo>
                  <a:close/>
                  <a:moveTo>
                    <a:pt x="3" y="209"/>
                  </a:moveTo>
                  <a:cubicBezTo>
                    <a:pt x="3" y="68"/>
                    <a:pt x="3" y="68"/>
                    <a:pt x="3" y="68"/>
                  </a:cubicBezTo>
                  <a:cubicBezTo>
                    <a:pt x="35" y="68"/>
                    <a:pt x="35" y="68"/>
                    <a:pt x="35" y="68"/>
                  </a:cubicBezTo>
                  <a:cubicBezTo>
                    <a:pt x="35" y="209"/>
                    <a:pt x="35" y="209"/>
                    <a:pt x="35" y="209"/>
                  </a:cubicBezTo>
                  <a:lnTo>
                    <a:pt x="3" y="20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0" name="Freeform 40"/>
            <p:cNvSpPr>
              <a:spLocks/>
            </p:cNvSpPr>
            <p:nvPr userDrawn="1"/>
          </p:nvSpPr>
          <p:spPr bwMode="auto">
            <a:xfrm>
              <a:off x="2824163" y="2071688"/>
              <a:ext cx="193675" cy="227013"/>
            </a:xfrm>
            <a:custGeom>
              <a:avLst/>
              <a:gdLst>
                <a:gd name="T0" fmla="*/ 46 w 122"/>
                <a:gd name="T1" fmla="*/ 117 h 143"/>
                <a:gd name="T2" fmla="*/ 122 w 122"/>
                <a:gd name="T3" fmla="*/ 117 h 143"/>
                <a:gd name="T4" fmla="*/ 122 w 122"/>
                <a:gd name="T5" fmla="*/ 143 h 143"/>
                <a:gd name="T6" fmla="*/ 0 w 122"/>
                <a:gd name="T7" fmla="*/ 143 h 143"/>
                <a:gd name="T8" fmla="*/ 0 w 122"/>
                <a:gd name="T9" fmla="*/ 132 h 143"/>
                <a:gd name="T10" fmla="*/ 77 w 122"/>
                <a:gd name="T11" fmla="*/ 26 h 143"/>
                <a:gd name="T12" fmla="*/ 8 w 122"/>
                <a:gd name="T13" fmla="*/ 26 h 143"/>
                <a:gd name="T14" fmla="*/ 8 w 122"/>
                <a:gd name="T15" fmla="*/ 0 h 143"/>
                <a:gd name="T16" fmla="*/ 122 w 122"/>
                <a:gd name="T17" fmla="*/ 0 h 143"/>
                <a:gd name="T18" fmla="*/ 122 w 122"/>
                <a:gd name="T19" fmla="*/ 12 h 143"/>
                <a:gd name="T20" fmla="*/ 46 w 122"/>
                <a:gd name="T21" fmla="*/ 117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43">
                  <a:moveTo>
                    <a:pt x="46" y="117"/>
                  </a:moveTo>
                  <a:lnTo>
                    <a:pt x="122" y="117"/>
                  </a:lnTo>
                  <a:lnTo>
                    <a:pt x="122" y="143"/>
                  </a:lnTo>
                  <a:lnTo>
                    <a:pt x="0" y="143"/>
                  </a:lnTo>
                  <a:lnTo>
                    <a:pt x="0" y="132"/>
                  </a:lnTo>
                  <a:lnTo>
                    <a:pt x="77" y="26"/>
                  </a:lnTo>
                  <a:lnTo>
                    <a:pt x="8" y="26"/>
                  </a:lnTo>
                  <a:lnTo>
                    <a:pt x="8" y="0"/>
                  </a:lnTo>
                  <a:lnTo>
                    <a:pt x="122" y="0"/>
                  </a:lnTo>
                  <a:lnTo>
                    <a:pt x="122" y="12"/>
                  </a:lnTo>
                  <a:lnTo>
                    <a:pt x="46" y="1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1" name="Freeform 41"/>
            <p:cNvSpPr>
              <a:spLocks noEditPoints="1"/>
            </p:cNvSpPr>
            <p:nvPr userDrawn="1"/>
          </p:nvSpPr>
          <p:spPr bwMode="auto">
            <a:xfrm>
              <a:off x="3057525" y="1960563"/>
              <a:ext cx="63500" cy="338138"/>
            </a:xfrm>
            <a:custGeom>
              <a:avLst/>
              <a:gdLst>
                <a:gd name="T0" fmla="*/ 39 w 39"/>
                <a:gd name="T1" fmla="*/ 19 h 209"/>
                <a:gd name="T2" fmla="*/ 33 w 39"/>
                <a:gd name="T3" fmla="*/ 32 h 209"/>
                <a:gd name="T4" fmla="*/ 19 w 39"/>
                <a:gd name="T5" fmla="*/ 37 h 209"/>
                <a:gd name="T6" fmla="*/ 5 w 39"/>
                <a:gd name="T7" fmla="*/ 32 h 209"/>
                <a:gd name="T8" fmla="*/ 0 w 39"/>
                <a:gd name="T9" fmla="*/ 19 h 209"/>
                <a:gd name="T10" fmla="*/ 6 w 39"/>
                <a:gd name="T11" fmla="*/ 5 h 209"/>
                <a:gd name="T12" fmla="*/ 19 w 39"/>
                <a:gd name="T13" fmla="*/ 0 h 209"/>
                <a:gd name="T14" fmla="*/ 33 w 39"/>
                <a:gd name="T15" fmla="*/ 5 h 209"/>
                <a:gd name="T16" fmla="*/ 39 w 39"/>
                <a:gd name="T17" fmla="*/ 19 h 209"/>
                <a:gd name="T18" fmla="*/ 3 w 39"/>
                <a:gd name="T19" fmla="*/ 209 h 209"/>
                <a:gd name="T20" fmla="*/ 3 w 39"/>
                <a:gd name="T21" fmla="*/ 68 h 209"/>
                <a:gd name="T22" fmla="*/ 35 w 39"/>
                <a:gd name="T23" fmla="*/ 68 h 209"/>
                <a:gd name="T24" fmla="*/ 35 w 39"/>
                <a:gd name="T25" fmla="*/ 209 h 209"/>
                <a:gd name="T26" fmla="*/ 3 w 39"/>
                <a:gd name="T27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209">
                  <a:moveTo>
                    <a:pt x="39" y="19"/>
                  </a:moveTo>
                  <a:cubicBezTo>
                    <a:pt x="39" y="24"/>
                    <a:pt x="37" y="28"/>
                    <a:pt x="33" y="32"/>
                  </a:cubicBezTo>
                  <a:cubicBezTo>
                    <a:pt x="29" y="35"/>
                    <a:pt x="25" y="37"/>
                    <a:pt x="19" y="37"/>
                  </a:cubicBezTo>
                  <a:cubicBezTo>
                    <a:pt x="14" y="37"/>
                    <a:pt x="9" y="35"/>
                    <a:pt x="5" y="32"/>
                  </a:cubicBezTo>
                  <a:cubicBezTo>
                    <a:pt x="2" y="28"/>
                    <a:pt x="0" y="24"/>
                    <a:pt x="0" y="19"/>
                  </a:cubicBezTo>
                  <a:cubicBezTo>
                    <a:pt x="0" y="13"/>
                    <a:pt x="2" y="9"/>
                    <a:pt x="6" y="5"/>
                  </a:cubicBezTo>
                  <a:cubicBezTo>
                    <a:pt x="9" y="2"/>
                    <a:pt x="14" y="0"/>
                    <a:pt x="19" y="0"/>
                  </a:cubicBezTo>
                  <a:cubicBezTo>
                    <a:pt x="25" y="0"/>
                    <a:pt x="29" y="2"/>
                    <a:pt x="33" y="5"/>
                  </a:cubicBezTo>
                  <a:cubicBezTo>
                    <a:pt x="37" y="9"/>
                    <a:pt x="39" y="14"/>
                    <a:pt x="39" y="19"/>
                  </a:cubicBezTo>
                  <a:close/>
                  <a:moveTo>
                    <a:pt x="3" y="209"/>
                  </a:moveTo>
                  <a:cubicBezTo>
                    <a:pt x="3" y="68"/>
                    <a:pt x="3" y="68"/>
                    <a:pt x="3" y="68"/>
                  </a:cubicBezTo>
                  <a:cubicBezTo>
                    <a:pt x="35" y="68"/>
                    <a:pt x="35" y="68"/>
                    <a:pt x="35" y="68"/>
                  </a:cubicBezTo>
                  <a:cubicBezTo>
                    <a:pt x="35" y="209"/>
                    <a:pt x="35" y="209"/>
                    <a:pt x="35" y="209"/>
                  </a:cubicBezTo>
                  <a:lnTo>
                    <a:pt x="3" y="20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2" name="Freeform 42"/>
            <p:cNvSpPr>
              <a:spLocks/>
            </p:cNvSpPr>
            <p:nvPr userDrawn="1"/>
          </p:nvSpPr>
          <p:spPr bwMode="auto">
            <a:xfrm>
              <a:off x="3182938" y="2066926"/>
              <a:ext cx="203200" cy="231775"/>
            </a:xfrm>
            <a:custGeom>
              <a:avLst/>
              <a:gdLst>
                <a:gd name="T0" fmla="*/ 93 w 125"/>
                <a:gd name="T1" fmla="*/ 144 h 144"/>
                <a:gd name="T2" fmla="*/ 93 w 125"/>
                <a:gd name="T3" fmla="*/ 65 h 144"/>
                <a:gd name="T4" fmla="*/ 86 w 125"/>
                <a:gd name="T5" fmla="*/ 36 h 144"/>
                <a:gd name="T6" fmla="*/ 65 w 125"/>
                <a:gd name="T7" fmla="*/ 26 h 144"/>
                <a:gd name="T8" fmla="*/ 41 w 125"/>
                <a:gd name="T9" fmla="*/ 37 h 144"/>
                <a:gd name="T10" fmla="*/ 32 w 125"/>
                <a:gd name="T11" fmla="*/ 64 h 144"/>
                <a:gd name="T12" fmla="*/ 32 w 125"/>
                <a:gd name="T13" fmla="*/ 144 h 144"/>
                <a:gd name="T14" fmla="*/ 0 w 125"/>
                <a:gd name="T15" fmla="*/ 144 h 144"/>
                <a:gd name="T16" fmla="*/ 0 w 125"/>
                <a:gd name="T17" fmla="*/ 3 h 144"/>
                <a:gd name="T18" fmla="*/ 32 w 125"/>
                <a:gd name="T19" fmla="*/ 3 h 144"/>
                <a:gd name="T20" fmla="*/ 32 w 125"/>
                <a:gd name="T21" fmla="*/ 26 h 144"/>
                <a:gd name="T22" fmla="*/ 32 w 125"/>
                <a:gd name="T23" fmla="*/ 26 h 144"/>
                <a:gd name="T24" fmla="*/ 78 w 125"/>
                <a:gd name="T25" fmla="*/ 0 h 144"/>
                <a:gd name="T26" fmla="*/ 112 w 125"/>
                <a:gd name="T27" fmla="*/ 14 h 144"/>
                <a:gd name="T28" fmla="*/ 125 w 125"/>
                <a:gd name="T29" fmla="*/ 58 h 144"/>
                <a:gd name="T30" fmla="*/ 125 w 125"/>
                <a:gd name="T31" fmla="*/ 144 h 144"/>
                <a:gd name="T32" fmla="*/ 93 w 125"/>
                <a:gd name="T3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144">
                  <a:moveTo>
                    <a:pt x="93" y="144"/>
                  </a:moveTo>
                  <a:cubicBezTo>
                    <a:pt x="93" y="65"/>
                    <a:pt x="93" y="65"/>
                    <a:pt x="93" y="65"/>
                  </a:cubicBezTo>
                  <a:cubicBezTo>
                    <a:pt x="93" y="52"/>
                    <a:pt x="91" y="42"/>
                    <a:pt x="86" y="36"/>
                  </a:cubicBezTo>
                  <a:cubicBezTo>
                    <a:pt x="82" y="29"/>
                    <a:pt x="75" y="26"/>
                    <a:pt x="65" y="26"/>
                  </a:cubicBezTo>
                  <a:cubicBezTo>
                    <a:pt x="55" y="26"/>
                    <a:pt x="47" y="30"/>
                    <a:pt x="41" y="37"/>
                  </a:cubicBezTo>
                  <a:cubicBezTo>
                    <a:pt x="35" y="44"/>
                    <a:pt x="32" y="53"/>
                    <a:pt x="32" y="64"/>
                  </a:cubicBezTo>
                  <a:cubicBezTo>
                    <a:pt x="32" y="144"/>
                    <a:pt x="32" y="144"/>
                    <a:pt x="32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43" y="9"/>
                    <a:pt x="58" y="0"/>
                    <a:pt x="78" y="0"/>
                  </a:cubicBezTo>
                  <a:cubicBezTo>
                    <a:pt x="93" y="0"/>
                    <a:pt x="104" y="5"/>
                    <a:pt x="112" y="14"/>
                  </a:cubicBezTo>
                  <a:cubicBezTo>
                    <a:pt x="121" y="24"/>
                    <a:pt x="125" y="38"/>
                    <a:pt x="125" y="58"/>
                  </a:cubicBezTo>
                  <a:cubicBezTo>
                    <a:pt x="125" y="144"/>
                    <a:pt x="125" y="144"/>
                    <a:pt x="125" y="144"/>
                  </a:cubicBezTo>
                  <a:lnTo>
                    <a:pt x="93" y="1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3" name="Freeform 43"/>
            <p:cNvSpPr>
              <a:spLocks noEditPoints="1"/>
            </p:cNvSpPr>
            <p:nvPr userDrawn="1"/>
          </p:nvSpPr>
          <p:spPr bwMode="auto">
            <a:xfrm>
              <a:off x="3433763" y="2066926"/>
              <a:ext cx="220663" cy="339725"/>
            </a:xfrm>
            <a:custGeom>
              <a:avLst/>
              <a:gdLst>
                <a:gd name="T0" fmla="*/ 137 w 137"/>
                <a:gd name="T1" fmla="*/ 131 h 210"/>
                <a:gd name="T2" fmla="*/ 116 w 137"/>
                <a:gd name="T3" fmla="*/ 190 h 210"/>
                <a:gd name="T4" fmla="*/ 57 w 137"/>
                <a:gd name="T5" fmla="*/ 210 h 210"/>
                <a:gd name="T6" fmla="*/ 32 w 137"/>
                <a:gd name="T7" fmla="*/ 207 h 210"/>
                <a:gd name="T8" fmla="*/ 11 w 137"/>
                <a:gd name="T9" fmla="*/ 201 h 210"/>
                <a:gd name="T10" fmla="*/ 11 w 137"/>
                <a:gd name="T11" fmla="*/ 171 h 210"/>
                <a:gd name="T12" fmla="*/ 35 w 137"/>
                <a:gd name="T13" fmla="*/ 182 h 210"/>
                <a:gd name="T14" fmla="*/ 57 w 137"/>
                <a:gd name="T15" fmla="*/ 184 h 210"/>
                <a:gd name="T16" fmla="*/ 92 w 137"/>
                <a:gd name="T17" fmla="*/ 172 h 210"/>
                <a:gd name="T18" fmla="*/ 105 w 137"/>
                <a:gd name="T19" fmla="*/ 135 h 210"/>
                <a:gd name="T20" fmla="*/ 105 w 137"/>
                <a:gd name="T21" fmla="*/ 122 h 210"/>
                <a:gd name="T22" fmla="*/ 104 w 137"/>
                <a:gd name="T23" fmla="*/ 122 h 210"/>
                <a:gd name="T24" fmla="*/ 86 w 137"/>
                <a:gd name="T25" fmla="*/ 141 h 210"/>
                <a:gd name="T26" fmla="*/ 58 w 137"/>
                <a:gd name="T27" fmla="*/ 147 h 210"/>
                <a:gd name="T28" fmla="*/ 16 w 137"/>
                <a:gd name="T29" fmla="*/ 129 h 210"/>
                <a:gd name="T30" fmla="*/ 0 w 137"/>
                <a:gd name="T31" fmla="*/ 78 h 210"/>
                <a:gd name="T32" fmla="*/ 17 w 137"/>
                <a:gd name="T33" fmla="*/ 21 h 210"/>
                <a:gd name="T34" fmla="*/ 64 w 137"/>
                <a:gd name="T35" fmla="*/ 0 h 210"/>
                <a:gd name="T36" fmla="*/ 104 w 137"/>
                <a:gd name="T37" fmla="*/ 21 h 210"/>
                <a:gd name="T38" fmla="*/ 105 w 137"/>
                <a:gd name="T39" fmla="*/ 21 h 210"/>
                <a:gd name="T40" fmla="*/ 105 w 137"/>
                <a:gd name="T41" fmla="*/ 3 h 210"/>
                <a:gd name="T42" fmla="*/ 137 w 137"/>
                <a:gd name="T43" fmla="*/ 3 h 210"/>
                <a:gd name="T44" fmla="*/ 137 w 137"/>
                <a:gd name="T45" fmla="*/ 131 h 210"/>
                <a:gd name="T46" fmla="*/ 105 w 137"/>
                <a:gd name="T47" fmla="*/ 62 h 210"/>
                <a:gd name="T48" fmla="*/ 95 w 137"/>
                <a:gd name="T49" fmla="*/ 36 h 210"/>
                <a:gd name="T50" fmla="*/ 71 w 137"/>
                <a:gd name="T51" fmla="*/ 26 h 210"/>
                <a:gd name="T52" fmla="*/ 43 w 137"/>
                <a:gd name="T53" fmla="*/ 39 h 210"/>
                <a:gd name="T54" fmla="*/ 33 w 137"/>
                <a:gd name="T55" fmla="*/ 77 h 210"/>
                <a:gd name="T56" fmla="*/ 43 w 137"/>
                <a:gd name="T57" fmla="*/ 109 h 210"/>
                <a:gd name="T58" fmla="*/ 68 w 137"/>
                <a:gd name="T59" fmla="*/ 121 h 210"/>
                <a:gd name="T60" fmla="*/ 95 w 137"/>
                <a:gd name="T61" fmla="*/ 109 h 210"/>
                <a:gd name="T62" fmla="*/ 105 w 137"/>
                <a:gd name="T63" fmla="*/ 78 h 210"/>
                <a:gd name="T64" fmla="*/ 105 w 137"/>
                <a:gd name="T65" fmla="*/ 62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7" h="210">
                  <a:moveTo>
                    <a:pt x="137" y="131"/>
                  </a:moveTo>
                  <a:cubicBezTo>
                    <a:pt x="137" y="156"/>
                    <a:pt x="130" y="176"/>
                    <a:pt x="116" y="190"/>
                  </a:cubicBezTo>
                  <a:cubicBezTo>
                    <a:pt x="102" y="203"/>
                    <a:pt x="83" y="210"/>
                    <a:pt x="57" y="210"/>
                  </a:cubicBezTo>
                  <a:cubicBezTo>
                    <a:pt x="49" y="210"/>
                    <a:pt x="40" y="209"/>
                    <a:pt x="32" y="207"/>
                  </a:cubicBezTo>
                  <a:cubicBezTo>
                    <a:pt x="23" y="206"/>
                    <a:pt x="16" y="204"/>
                    <a:pt x="11" y="201"/>
                  </a:cubicBezTo>
                  <a:cubicBezTo>
                    <a:pt x="11" y="171"/>
                    <a:pt x="11" y="171"/>
                    <a:pt x="11" y="171"/>
                  </a:cubicBezTo>
                  <a:cubicBezTo>
                    <a:pt x="20" y="176"/>
                    <a:pt x="28" y="180"/>
                    <a:pt x="35" y="182"/>
                  </a:cubicBezTo>
                  <a:cubicBezTo>
                    <a:pt x="42" y="184"/>
                    <a:pt x="50" y="184"/>
                    <a:pt x="57" y="184"/>
                  </a:cubicBezTo>
                  <a:cubicBezTo>
                    <a:pt x="72" y="184"/>
                    <a:pt x="84" y="180"/>
                    <a:pt x="92" y="172"/>
                  </a:cubicBezTo>
                  <a:cubicBezTo>
                    <a:pt x="101" y="164"/>
                    <a:pt x="105" y="151"/>
                    <a:pt x="105" y="135"/>
                  </a:cubicBezTo>
                  <a:cubicBezTo>
                    <a:pt x="105" y="122"/>
                    <a:pt x="105" y="122"/>
                    <a:pt x="105" y="122"/>
                  </a:cubicBezTo>
                  <a:cubicBezTo>
                    <a:pt x="104" y="122"/>
                    <a:pt x="104" y="122"/>
                    <a:pt x="104" y="122"/>
                  </a:cubicBezTo>
                  <a:cubicBezTo>
                    <a:pt x="99" y="130"/>
                    <a:pt x="93" y="136"/>
                    <a:pt x="86" y="141"/>
                  </a:cubicBezTo>
                  <a:cubicBezTo>
                    <a:pt x="79" y="145"/>
                    <a:pt x="69" y="147"/>
                    <a:pt x="58" y="147"/>
                  </a:cubicBezTo>
                  <a:cubicBezTo>
                    <a:pt x="41" y="147"/>
                    <a:pt x="26" y="141"/>
                    <a:pt x="16" y="129"/>
                  </a:cubicBezTo>
                  <a:cubicBezTo>
                    <a:pt x="5" y="116"/>
                    <a:pt x="0" y="99"/>
                    <a:pt x="0" y="78"/>
                  </a:cubicBezTo>
                  <a:cubicBezTo>
                    <a:pt x="0" y="54"/>
                    <a:pt x="6" y="35"/>
                    <a:pt x="17" y="21"/>
                  </a:cubicBezTo>
                  <a:cubicBezTo>
                    <a:pt x="29" y="7"/>
                    <a:pt x="45" y="0"/>
                    <a:pt x="64" y="0"/>
                  </a:cubicBezTo>
                  <a:cubicBezTo>
                    <a:pt x="82" y="0"/>
                    <a:pt x="95" y="7"/>
                    <a:pt x="104" y="21"/>
                  </a:cubicBezTo>
                  <a:cubicBezTo>
                    <a:pt x="105" y="21"/>
                    <a:pt x="105" y="21"/>
                    <a:pt x="105" y="21"/>
                  </a:cubicBezTo>
                  <a:cubicBezTo>
                    <a:pt x="105" y="3"/>
                    <a:pt x="105" y="3"/>
                    <a:pt x="105" y="3"/>
                  </a:cubicBezTo>
                  <a:cubicBezTo>
                    <a:pt x="137" y="3"/>
                    <a:pt x="137" y="3"/>
                    <a:pt x="137" y="3"/>
                  </a:cubicBezTo>
                  <a:lnTo>
                    <a:pt x="137" y="131"/>
                  </a:lnTo>
                  <a:close/>
                  <a:moveTo>
                    <a:pt x="105" y="62"/>
                  </a:moveTo>
                  <a:cubicBezTo>
                    <a:pt x="105" y="52"/>
                    <a:pt x="102" y="43"/>
                    <a:pt x="95" y="36"/>
                  </a:cubicBezTo>
                  <a:cubicBezTo>
                    <a:pt x="89" y="29"/>
                    <a:pt x="80" y="26"/>
                    <a:pt x="71" y="26"/>
                  </a:cubicBezTo>
                  <a:cubicBezTo>
                    <a:pt x="59" y="26"/>
                    <a:pt x="49" y="30"/>
                    <a:pt x="43" y="39"/>
                  </a:cubicBezTo>
                  <a:cubicBezTo>
                    <a:pt x="36" y="48"/>
                    <a:pt x="33" y="60"/>
                    <a:pt x="33" y="77"/>
                  </a:cubicBezTo>
                  <a:cubicBezTo>
                    <a:pt x="33" y="91"/>
                    <a:pt x="36" y="101"/>
                    <a:pt x="43" y="109"/>
                  </a:cubicBezTo>
                  <a:cubicBezTo>
                    <a:pt x="49" y="117"/>
                    <a:pt x="58" y="121"/>
                    <a:pt x="68" y="121"/>
                  </a:cubicBezTo>
                  <a:cubicBezTo>
                    <a:pt x="79" y="121"/>
                    <a:pt x="88" y="117"/>
                    <a:pt x="95" y="109"/>
                  </a:cubicBezTo>
                  <a:cubicBezTo>
                    <a:pt x="102" y="101"/>
                    <a:pt x="105" y="91"/>
                    <a:pt x="105" y="78"/>
                  </a:cubicBezTo>
                  <a:lnTo>
                    <a:pt x="105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4" name="Freeform 44"/>
            <p:cNvSpPr>
              <a:spLocks/>
            </p:cNvSpPr>
            <p:nvPr userDrawn="1"/>
          </p:nvSpPr>
          <p:spPr bwMode="auto">
            <a:xfrm>
              <a:off x="3795713" y="2058988"/>
              <a:ext cx="198438" cy="239713"/>
            </a:xfrm>
            <a:custGeom>
              <a:avLst/>
              <a:gdLst>
                <a:gd name="T0" fmla="*/ 73 w 123"/>
                <a:gd name="T1" fmla="*/ 95 h 149"/>
                <a:gd name="T2" fmla="*/ 73 w 123"/>
                <a:gd name="T3" fmla="*/ 149 h 149"/>
                <a:gd name="T4" fmla="*/ 48 w 123"/>
                <a:gd name="T5" fmla="*/ 149 h 149"/>
                <a:gd name="T6" fmla="*/ 48 w 123"/>
                <a:gd name="T7" fmla="*/ 95 h 149"/>
                <a:gd name="T8" fmla="*/ 0 w 123"/>
                <a:gd name="T9" fmla="*/ 0 h 149"/>
                <a:gd name="T10" fmla="*/ 28 w 123"/>
                <a:gd name="T11" fmla="*/ 0 h 149"/>
                <a:gd name="T12" fmla="*/ 58 w 123"/>
                <a:gd name="T13" fmla="*/ 62 h 149"/>
                <a:gd name="T14" fmla="*/ 60 w 123"/>
                <a:gd name="T15" fmla="*/ 67 h 149"/>
                <a:gd name="T16" fmla="*/ 62 w 123"/>
                <a:gd name="T17" fmla="*/ 72 h 149"/>
                <a:gd name="T18" fmla="*/ 62 w 123"/>
                <a:gd name="T19" fmla="*/ 72 h 149"/>
                <a:gd name="T20" fmla="*/ 65 w 123"/>
                <a:gd name="T21" fmla="*/ 62 h 149"/>
                <a:gd name="T22" fmla="*/ 96 w 123"/>
                <a:gd name="T23" fmla="*/ 0 h 149"/>
                <a:gd name="T24" fmla="*/ 123 w 123"/>
                <a:gd name="T25" fmla="*/ 0 h 149"/>
                <a:gd name="T26" fmla="*/ 73 w 123"/>
                <a:gd name="T27" fmla="*/ 9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3" h="149">
                  <a:moveTo>
                    <a:pt x="73" y="95"/>
                  </a:moveTo>
                  <a:cubicBezTo>
                    <a:pt x="73" y="149"/>
                    <a:pt x="73" y="149"/>
                    <a:pt x="73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8" y="95"/>
                    <a:pt x="48" y="95"/>
                    <a:pt x="48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58" y="62"/>
                    <a:pt x="58" y="62"/>
                    <a:pt x="58" y="62"/>
                  </a:cubicBezTo>
                  <a:cubicBezTo>
                    <a:pt x="59" y="64"/>
                    <a:pt x="60" y="66"/>
                    <a:pt x="60" y="67"/>
                  </a:cubicBezTo>
                  <a:cubicBezTo>
                    <a:pt x="61" y="69"/>
                    <a:pt x="61" y="70"/>
                    <a:pt x="62" y="72"/>
                  </a:cubicBezTo>
                  <a:cubicBezTo>
                    <a:pt x="62" y="72"/>
                    <a:pt x="62" y="72"/>
                    <a:pt x="62" y="72"/>
                  </a:cubicBezTo>
                  <a:cubicBezTo>
                    <a:pt x="63" y="68"/>
                    <a:pt x="64" y="65"/>
                    <a:pt x="65" y="62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23" y="0"/>
                    <a:pt x="123" y="0"/>
                    <a:pt x="123" y="0"/>
                  </a:cubicBezTo>
                  <a:lnTo>
                    <a:pt x="73" y="95"/>
                  </a:ln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5" name="Freeform 45"/>
            <p:cNvSpPr>
              <a:spLocks noEditPoints="1"/>
            </p:cNvSpPr>
            <p:nvPr userDrawn="1"/>
          </p:nvSpPr>
          <p:spPr bwMode="auto">
            <a:xfrm>
              <a:off x="3967163" y="2122488"/>
              <a:ext cx="177800" cy="180975"/>
            </a:xfrm>
            <a:custGeom>
              <a:avLst/>
              <a:gdLst>
                <a:gd name="T0" fmla="*/ 110 w 110"/>
                <a:gd name="T1" fmla="*/ 55 h 112"/>
                <a:gd name="T2" fmla="*/ 95 w 110"/>
                <a:gd name="T3" fmla="*/ 96 h 112"/>
                <a:gd name="T4" fmla="*/ 54 w 110"/>
                <a:gd name="T5" fmla="*/ 112 h 112"/>
                <a:gd name="T6" fmla="*/ 15 w 110"/>
                <a:gd name="T7" fmla="*/ 97 h 112"/>
                <a:gd name="T8" fmla="*/ 0 w 110"/>
                <a:gd name="T9" fmla="*/ 57 h 112"/>
                <a:gd name="T10" fmla="*/ 15 w 110"/>
                <a:gd name="T11" fmla="*/ 15 h 112"/>
                <a:gd name="T12" fmla="*/ 56 w 110"/>
                <a:gd name="T13" fmla="*/ 0 h 112"/>
                <a:gd name="T14" fmla="*/ 96 w 110"/>
                <a:gd name="T15" fmla="*/ 14 h 112"/>
                <a:gd name="T16" fmla="*/ 110 w 110"/>
                <a:gd name="T17" fmla="*/ 55 h 112"/>
                <a:gd name="T18" fmla="*/ 85 w 110"/>
                <a:gd name="T19" fmla="*/ 55 h 112"/>
                <a:gd name="T20" fmla="*/ 77 w 110"/>
                <a:gd name="T21" fmla="*/ 29 h 112"/>
                <a:gd name="T22" fmla="*/ 55 w 110"/>
                <a:gd name="T23" fmla="*/ 19 h 112"/>
                <a:gd name="T24" fmla="*/ 33 w 110"/>
                <a:gd name="T25" fmla="*/ 29 h 112"/>
                <a:gd name="T26" fmla="*/ 25 w 110"/>
                <a:gd name="T27" fmla="*/ 56 h 112"/>
                <a:gd name="T28" fmla="*/ 33 w 110"/>
                <a:gd name="T29" fmla="*/ 82 h 112"/>
                <a:gd name="T30" fmla="*/ 55 w 110"/>
                <a:gd name="T31" fmla="*/ 92 h 112"/>
                <a:gd name="T32" fmla="*/ 77 w 110"/>
                <a:gd name="T33" fmla="*/ 83 h 112"/>
                <a:gd name="T34" fmla="*/ 85 w 110"/>
                <a:gd name="T35" fmla="*/ 5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112">
                  <a:moveTo>
                    <a:pt x="110" y="55"/>
                  </a:moveTo>
                  <a:cubicBezTo>
                    <a:pt x="110" y="72"/>
                    <a:pt x="105" y="86"/>
                    <a:pt x="95" y="96"/>
                  </a:cubicBezTo>
                  <a:cubicBezTo>
                    <a:pt x="85" y="106"/>
                    <a:pt x="71" y="112"/>
                    <a:pt x="54" y="112"/>
                  </a:cubicBezTo>
                  <a:cubicBezTo>
                    <a:pt x="37" y="112"/>
                    <a:pt x="24" y="107"/>
                    <a:pt x="15" y="97"/>
                  </a:cubicBezTo>
                  <a:cubicBezTo>
                    <a:pt x="5" y="87"/>
                    <a:pt x="0" y="74"/>
                    <a:pt x="0" y="57"/>
                  </a:cubicBezTo>
                  <a:cubicBezTo>
                    <a:pt x="0" y="39"/>
                    <a:pt x="5" y="25"/>
                    <a:pt x="15" y="15"/>
                  </a:cubicBezTo>
                  <a:cubicBezTo>
                    <a:pt x="25" y="5"/>
                    <a:pt x="39" y="0"/>
                    <a:pt x="56" y="0"/>
                  </a:cubicBezTo>
                  <a:cubicBezTo>
                    <a:pt x="73" y="0"/>
                    <a:pt x="86" y="5"/>
                    <a:pt x="96" y="14"/>
                  </a:cubicBezTo>
                  <a:cubicBezTo>
                    <a:pt x="105" y="24"/>
                    <a:pt x="110" y="38"/>
                    <a:pt x="110" y="55"/>
                  </a:cubicBezTo>
                  <a:close/>
                  <a:moveTo>
                    <a:pt x="85" y="55"/>
                  </a:moveTo>
                  <a:cubicBezTo>
                    <a:pt x="85" y="44"/>
                    <a:pt x="82" y="35"/>
                    <a:pt x="77" y="29"/>
                  </a:cubicBezTo>
                  <a:cubicBezTo>
                    <a:pt x="71" y="22"/>
                    <a:pt x="64" y="19"/>
                    <a:pt x="55" y="19"/>
                  </a:cubicBezTo>
                  <a:cubicBezTo>
                    <a:pt x="46" y="19"/>
                    <a:pt x="38" y="23"/>
                    <a:pt x="33" y="29"/>
                  </a:cubicBezTo>
                  <a:cubicBezTo>
                    <a:pt x="28" y="35"/>
                    <a:pt x="25" y="44"/>
                    <a:pt x="25" y="56"/>
                  </a:cubicBezTo>
                  <a:cubicBezTo>
                    <a:pt x="25" y="67"/>
                    <a:pt x="28" y="76"/>
                    <a:pt x="33" y="82"/>
                  </a:cubicBezTo>
                  <a:cubicBezTo>
                    <a:pt x="38" y="89"/>
                    <a:pt x="46" y="92"/>
                    <a:pt x="55" y="92"/>
                  </a:cubicBezTo>
                  <a:cubicBezTo>
                    <a:pt x="65" y="92"/>
                    <a:pt x="72" y="89"/>
                    <a:pt x="77" y="83"/>
                  </a:cubicBezTo>
                  <a:cubicBezTo>
                    <a:pt x="82" y="76"/>
                    <a:pt x="85" y="67"/>
                    <a:pt x="85" y="55"/>
                  </a:cubicBez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6" name="Freeform 46"/>
            <p:cNvSpPr>
              <a:spLocks/>
            </p:cNvSpPr>
            <p:nvPr userDrawn="1"/>
          </p:nvSpPr>
          <p:spPr bwMode="auto">
            <a:xfrm>
              <a:off x="4181475" y="2125663"/>
              <a:ext cx="153988" cy="177800"/>
            </a:xfrm>
            <a:custGeom>
              <a:avLst/>
              <a:gdLst>
                <a:gd name="T0" fmla="*/ 71 w 95"/>
                <a:gd name="T1" fmla="*/ 107 h 110"/>
                <a:gd name="T2" fmla="*/ 71 w 95"/>
                <a:gd name="T3" fmla="*/ 91 h 110"/>
                <a:gd name="T4" fmla="*/ 70 w 95"/>
                <a:gd name="T5" fmla="*/ 91 h 110"/>
                <a:gd name="T6" fmla="*/ 57 w 95"/>
                <a:gd name="T7" fmla="*/ 105 h 110"/>
                <a:gd name="T8" fmla="*/ 38 w 95"/>
                <a:gd name="T9" fmla="*/ 110 h 110"/>
                <a:gd name="T10" fmla="*/ 10 w 95"/>
                <a:gd name="T11" fmla="*/ 98 h 110"/>
                <a:gd name="T12" fmla="*/ 0 w 95"/>
                <a:gd name="T13" fmla="*/ 65 h 110"/>
                <a:gd name="T14" fmla="*/ 0 w 95"/>
                <a:gd name="T15" fmla="*/ 0 h 110"/>
                <a:gd name="T16" fmla="*/ 24 w 95"/>
                <a:gd name="T17" fmla="*/ 0 h 110"/>
                <a:gd name="T18" fmla="*/ 24 w 95"/>
                <a:gd name="T19" fmla="*/ 62 h 110"/>
                <a:gd name="T20" fmla="*/ 46 w 95"/>
                <a:gd name="T21" fmla="*/ 90 h 110"/>
                <a:gd name="T22" fmla="*/ 64 w 95"/>
                <a:gd name="T23" fmla="*/ 82 h 110"/>
                <a:gd name="T24" fmla="*/ 71 w 95"/>
                <a:gd name="T25" fmla="*/ 62 h 110"/>
                <a:gd name="T26" fmla="*/ 71 w 95"/>
                <a:gd name="T27" fmla="*/ 0 h 110"/>
                <a:gd name="T28" fmla="*/ 95 w 95"/>
                <a:gd name="T29" fmla="*/ 0 h 110"/>
                <a:gd name="T30" fmla="*/ 95 w 95"/>
                <a:gd name="T31" fmla="*/ 107 h 110"/>
                <a:gd name="T32" fmla="*/ 71 w 95"/>
                <a:gd name="T33" fmla="*/ 107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10">
                  <a:moveTo>
                    <a:pt x="71" y="107"/>
                  </a:moveTo>
                  <a:cubicBezTo>
                    <a:pt x="71" y="91"/>
                    <a:pt x="71" y="91"/>
                    <a:pt x="71" y="91"/>
                  </a:cubicBezTo>
                  <a:cubicBezTo>
                    <a:pt x="70" y="91"/>
                    <a:pt x="70" y="91"/>
                    <a:pt x="70" y="91"/>
                  </a:cubicBezTo>
                  <a:cubicBezTo>
                    <a:pt x="67" y="97"/>
                    <a:pt x="62" y="101"/>
                    <a:pt x="57" y="105"/>
                  </a:cubicBezTo>
                  <a:cubicBezTo>
                    <a:pt x="51" y="108"/>
                    <a:pt x="45" y="110"/>
                    <a:pt x="38" y="110"/>
                  </a:cubicBezTo>
                  <a:cubicBezTo>
                    <a:pt x="26" y="110"/>
                    <a:pt x="16" y="106"/>
                    <a:pt x="10" y="98"/>
                  </a:cubicBezTo>
                  <a:cubicBezTo>
                    <a:pt x="3" y="91"/>
                    <a:pt x="0" y="80"/>
                    <a:pt x="0" y="6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4" y="81"/>
                    <a:pt x="32" y="90"/>
                    <a:pt x="46" y="90"/>
                  </a:cubicBezTo>
                  <a:cubicBezTo>
                    <a:pt x="54" y="90"/>
                    <a:pt x="59" y="87"/>
                    <a:pt x="64" y="82"/>
                  </a:cubicBezTo>
                  <a:cubicBezTo>
                    <a:pt x="68" y="77"/>
                    <a:pt x="71" y="70"/>
                    <a:pt x="71" y="62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107"/>
                    <a:pt x="95" y="107"/>
                    <a:pt x="95" y="107"/>
                  </a:cubicBezTo>
                  <a:lnTo>
                    <a:pt x="71" y="107"/>
                  </a:ln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7" name="Freeform 47"/>
            <p:cNvSpPr>
              <a:spLocks/>
            </p:cNvSpPr>
            <p:nvPr userDrawn="1"/>
          </p:nvSpPr>
          <p:spPr bwMode="auto">
            <a:xfrm>
              <a:off x="4379913" y="2122488"/>
              <a:ext cx="100013" cy="176213"/>
            </a:xfrm>
            <a:custGeom>
              <a:avLst/>
              <a:gdLst>
                <a:gd name="T0" fmla="*/ 62 w 62"/>
                <a:gd name="T1" fmla="*/ 26 h 109"/>
                <a:gd name="T2" fmla="*/ 55 w 62"/>
                <a:gd name="T3" fmla="*/ 23 h 109"/>
                <a:gd name="T4" fmla="*/ 48 w 62"/>
                <a:gd name="T5" fmla="*/ 22 h 109"/>
                <a:gd name="T6" fmla="*/ 31 w 62"/>
                <a:gd name="T7" fmla="*/ 31 h 109"/>
                <a:gd name="T8" fmla="*/ 24 w 62"/>
                <a:gd name="T9" fmla="*/ 54 h 109"/>
                <a:gd name="T10" fmla="*/ 24 w 62"/>
                <a:gd name="T11" fmla="*/ 109 h 109"/>
                <a:gd name="T12" fmla="*/ 0 w 62"/>
                <a:gd name="T13" fmla="*/ 109 h 109"/>
                <a:gd name="T14" fmla="*/ 0 w 62"/>
                <a:gd name="T15" fmla="*/ 2 h 109"/>
                <a:gd name="T16" fmla="*/ 24 w 62"/>
                <a:gd name="T17" fmla="*/ 2 h 109"/>
                <a:gd name="T18" fmla="*/ 24 w 62"/>
                <a:gd name="T19" fmla="*/ 23 h 109"/>
                <a:gd name="T20" fmla="*/ 25 w 62"/>
                <a:gd name="T21" fmla="*/ 23 h 109"/>
                <a:gd name="T22" fmla="*/ 35 w 62"/>
                <a:gd name="T23" fmla="*/ 6 h 109"/>
                <a:gd name="T24" fmla="*/ 52 w 62"/>
                <a:gd name="T25" fmla="*/ 0 h 109"/>
                <a:gd name="T26" fmla="*/ 62 w 62"/>
                <a:gd name="T27" fmla="*/ 2 h 109"/>
                <a:gd name="T28" fmla="*/ 62 w 62"/>
                <a:gd name="T29" fmla="*/ 2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2" h="109">
                  <a:moveTo>
                    <a:pt x="62" y="26"/>
                  </a:moveTo>
                  <a:cubicBezTo>
                    <a:pt x="60" y="25"/>
                    <a:pt x="58" y="24"/>
                    <a:pt x="55" y="23"/>
                  </a:cubicBezTo>
                  <a:cubicBezTo>
                    <a:pt x="53" y="22"/>
                    <a:pt x="50" y="22"/>
                    <a:pt x="48" y="22"/>
                  </a:cubicBezTo>
                  <a:cubicBezTo>
                    <a:pt x="41" y="22"/>
                    <a:pt x="35" y="25"/>
                    <a:pt x="31" y="31"/>
                  </a:cubicBezTo>
                  <a:cubicBezTo>
                    <a:pt x="26" y="37"/>
                    <a:pt x="24" y="45"/>
                    <a:pt x="24" y="54"/>
                  </a:cubicBezTo>
                  <a:cubicBezTo>
                    <a:pt x="24" y="109"/>
                    <a:pt x="24" y="109"/>
                    <a:pt x="24" y="10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7" y="16"/>
                    <a:pt x="31" y="10"/>
                    <a:pt x="35" y="6"/>
                  </a:cubicBezTo>
                  <a:cubicBezTo>
                    <a:pt x="40" y="2"/>
                    <a:pt x="46" y="0"/>
                    <a:pt x="52" y="0"/>
                  </a:cubicBezTo>
                  <a:cubicBezTo>
                    <a:pt x="56" y="0"/>
                    <a:pt x="59" y="1"/>
                    <a:pt x="62" y="2"/>
                  </a:cubicBezTo>
                  <a:lnTo>
                    <a:pt x="62" y="26"/>
                  </a:ln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118" name="Group 117"/>
          <p:cNvGrpSpPr/>
          <p:nvPr userDrawn="1"/>
        </p:nvGrpSpPr>
        <p:grpSpPr>
          <a:xfrm>
            <a:off x="1404553" y="2845307"/>
            <a:ext cx="3219971" cy="336207"/>
            <a:chOff x="1500188" y="2508251"/>
            <a:chExt cx="3284538" cy="342900"/>
          </a:xfrm>
        </p:grpSpPr>
        <p:sp>
          <p:nvSpPr>
            <p:cNvPr id="119" name="Freeform 48"/>
            <p:cNvSpPr>
              <a:spLocks noEditPoints="1"/>
            </p:cNvSpPr>
            <p:nvPr userDrawn="1"/>
          </p:nvSpPr>
          <p:spPr bwMode="auto">
            <a:xfrm>
              <a:off x="1500188" y="2527301"/>
              <a:ext cx="268288" cy="317500"/>
            </a:xfrm>
            <a:custGeom>
              <a:avLst/>
              <a:gdLst>
                <a:gd name="T0" fmla="*/ 166 w 166"/>
                <a:gd name="T1" fmla="*/ 96 h 196"/>
                <a:gd name="T2" fmla="*/ 153 w 166"/>
                <a:gd name="T3" fmla="*/ 149 h 196"/>
                <a:gd name="T4" fmla="*/ 115 w 166"/>
                <a:gd name="T5" fmla="*/ 184 h 196"/>
                <a:gd name="T6" fmla="*/ 59 w 166"/>
                <a:gd name="T7" fmla="*/ 196 h 196"/>
                <a:gd name="T8" fmla="*/ 0 w 166"/>
                <a:gd name="T9" fmla="*/ 196 h 196"/>
                <a:gd name="T10" fmla="*/ 0 w 166"/>
                <a:gd name="T11" fmla="*/ 0 h 196"/>
                <a:gd name="T12" fmla="*/ 61 w 166"/>
                <a:gd name="T13" fmla="*/ 0 h 196"/>
                <a:gd name="T14" fmla="*/ 140 w 166"/>
                <a:gd name="T15" fmla="*/ 24 h 196"/>
                <a:gd name="T16" fmla="*/ 166 w 166"/>
                <a:gd name="T17" fmla="*/ 96 h 196"/>
                <a:gd name="T18" fmla="*/ 131 w 166"/>
                <a:gd name="T19" fmla="*/ 96 h 196"/>
                <a:gd name="T20" fmla="*/ 113 w 166"/>
                <a:gd name="T21" fmla="*/ 45 h 196"/>
                <a:gd name="T22" fmla="*/ 59 w 166"/>
                <a:gd name="T23" fmla="*/ 28 h 196"/>
                <a:gd name="T24" fmla="*/ 32 w 166"/>
                <a:gd name="T25" fmla="*/ 28 h 196"/>
                <a:gd name="T26" fmla="*/ 32 w 166"/>
                <a:gd name="T27" fmla="*/ 168 h 196"/>
                <a:gd name="T28" fmla="*/ 59 w 166"/>
                <a:gd name="T29" fmla="*/ 168 h 196"/>
                <a:gd name="T30" fmla="*/ 112 w 166"/>
                <a:gd name="T31" fmla="*/ 149 h 196"/>
                <a:gd name="T32" fmla="*/ 131 w 166"/>
                <a:gd name="T33" fmla="*/ 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6" h="196">
                  <a:moveTo>
                    <a:pt x="166" y="96"/>
                  </a:moveTo>
                  <a:cubicBezTo>
                    <a:pt x="166" y="116"/>
                    <a:pt x="162" y="133"/>
                    <a:pt x="153" y="149"/>
                  </a:cubicBezTo>
                  <a:cubicBezTo>
                    <a:pt x="144" y="164"/>
                    <a:pt x="132" y="176"/>
                    <a:pt x="115" y="184"/>
                  </a:cubicBezTo>
                  <a:cubicBezTo>
                    <a:pt x="99" y="192"/>
                    <a:pt x="80" y="196"/>
                    <a:pt x="59" y="196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96" y="0"/>
                    <a:pt x="122" y="8"/>
                    <a:pt x="140" y="24"/>
                  </a:cubicBezTo>
                  <a:cubicBezTo>
                    <a:pt x="157" y="40"/>
                    <a:pt x="166" y="64"/>
                    <a:pt x="166" y="96"/>
                  </a:cubicBezTo>
                  <a:close/>
                  <a:moveTo>
                    <a:pt x="131" y="96"/>
                  </a:moveTo>
                  <a:cubicBezTo>
                    <a:pt x="131" y="74"/>
                    <a:pt x="125" y="57"/>
                    <a:pt x="113" y="45"/>
                  </a:cubicBezTo>
                  <a:cubicBezTo>
                    <a:pt x="100" y="34"/>
                    <a:pt x="82" y="28"/>
                    <a:pt x="59" y="28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168"/>
                    <a:pt x="32" y="168"/>
                    <a:pt x="32" y="168"/>
                  </a:cubicBezTo>
                  <a:cubicBezTo>
                    <a:pt x="59" y="168"/>
                    <a:pt x="59" y="168"/>
                    <a:pt x="59" y="168"/>
                  </a:cubicBezTo>
                  <a:cubicBezTo>
                    <a:pt x="82" y="168"/>
                    <a:pt x="100" y="162"/>
                    <a:pt x="112" y="149"/>
                  </a:cubicBezTo>
                  <a:cubicBezTo>
                    <a:pt x="125" y="136"/>
                    <a:pt x="131" y="119"/>
                    <a:pt x="131" y="96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0" name="Freeform 49"/>
            <p:cNvSpPr>
              <a:spLocks noEditPoints="1"/>
            </p:cNvSpPr>
            <p:nvPr userDrawn="1"/>
          </p:nvSpPr>
          <p:spPr bwMode="auto">
            <a:xfrm>
              <a:off x="1801813" y="2611438"/>
              <a:ext cx="192088" cy="239713"/>
            </a:xfrm>
            <a:custGeom>
              <a:avLst/>
              <a:gdLst>
                <a:gd name="T0" fmla="*/ 87 w 118"/>
                <a:gd name="T1" fmla="*/ 144 h 148"/>
                <a:gd name="T2" fmla="*/ 87 w 118"/>
                <a:gd name="T3" fmla="*/ 125 h 148"/>
                <a:gd name="T4" fmla="*/ 86 w 118"/>
                <a:gd name="T5" fmla="*/ 125 h 148"/>
                <a:gd name="T6" fmla="*/ 45 w 118"/>
                <a:gd name="T7" fmla="*/ 148 h 148"/>
                <a:gd name="T8" fmla="*/ 12 w 118"/>
                <a:gd name="T9" fmla="*/ 137 h 148"/>
                <a:gd name="T10" fmla="*/ 0 w 118"/>
                <a:gd name="T11" fmla="*/ 106 h 148"/>
                <a:gd name="T12" fmla="*/ 12 w 118"/>
                <a:gd name="T13" fmla="*/ 74 h 148"/>
                <a:gd name="T14" fmla="*/ 46 w 118"/>
                <a:gd name="T15" fmla="*/ 60 h 148"/>
                <a:gd name="T16" fmla="*/ 87 w 118"/>
                <a:gd name="T17" fmla="*/ 54 h 148"/>
                <a:gd name="T18" fmla="*/ 60 w 118"/>
                <a:gd name="T19" fmla="*/ 25 h 148"/>
                <a:gd name="T20" fmla="*/ 35 w 118"/>
                <a:gd name="T21" fmla="*/ 30 h 148"/>
                <a:gd name="T22" fmla="*/ 14 w 118"/>
                <a:gd name="T23" fmla="*/ 41 h 148"/>
                <a:gd name="T24" fmla="*/ 14 w 118"/>
                <a:gd name="T25" fmla="*/ 13 h 148"/>
                <a:gd name="T26" fmla="*/ 36 w 118"/>
                <a:gd name="T27" fmla="*/ 4 h 148"/>
                <a:gd name="T28" fmla="*/ 64 w 118"/>
                <a:gd name="T29" fmla="*/ 0 h 148"/>
                <a:gd name="T30" fmla="*/ 104 w 118"/>
                <a:gd name="T31" fmla="*/ 14 h 148"/>
                <a:gd name="T32" fmla="*/ 118 w 118"/>
                <a:gd name="T33" fmla="*/ 55 h 148"/>
                <a:gd name="T34" fmla="*/ 118 w 118"/>
                <a:gd name="T35" fmla="*/ 144 h 148"/>
                <a:gd name="T36" fmla="*/ 87 w 118"/>
                <a:gd name="T37" fmla="*/ 144 h 148"/>
                <a:gd name="T38" fmla="*/ 31 w 118"/>
                <a:gd name="T39" fmla="*/ 103 h 148"/>
                <a:gd name="T40" fmla="*/ 38 w 118"/>
                <a:gd name="T41" fmla="*/ 117 h 148"/>
                <a:gd name="T42" fmla="*/ 54 w 118"/>
                <a:gd name="T43" fmla="*/ 123 h 148"/>
                <a:gd name="T44" fmla="*/ 78 w 118"/>
                <a:gd name="T45" fmla="*/ 113 h 148"/>
                <a:gd name="T46" fmla="*/ 87 w 118"/>
                <a:gd name="T47" fmla="*/ 89 h 148"/>
                <a:gd name="T48" fmla="*/ 87 w 118"/>
                <a:gd name="T49" fmla="*/ 76 h 148"/>
                <a:gd name="T50" fmla="*/ 57 w 118"/>
                <a:gd name="T51" fmla="*/ 80 h 148"/>
                <a:gd name="T52" fmla="*/ 37 w 118"/>
                <a:gd name="T53" fmla="*/ 87 h 148"/>
                <a:gd name="T54" fmla="*/ 31 w 118"/>
                <a:gd name="T55" fmla="*/ 10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8" h="148">
                  <a:moveTo>
                    <a:pt x="87" y="144"/>
                  </a:moveTo>
                  <a:cubicBezTo>
                    <a:pt x="87" y="125"/>
                    <a:pt x="87" y="125"/>
                    <a:pt x="87" y="125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76" y="140"/>
                    <a:pt x="62" y="148"/>
                    <a:pt x="45" y="148"/>
                  </a:cubicBezTo>
                  <a:cubicBezTo>
                    <a:pt x="31" y="148"/>
                    <a:pt x="20" y="144"/>
                    <a:pt x="12" y="137"/>
                  </a:cubicBezTo>
                  <a:cubicBezTo>
                    <a:pt x="4" y="129"/>
                    <a:pt x="0" y="119"/>
                    <a:pt x="0" y="106"/>
                  </a:cubicBezTo>
                  <a:cubicBezTo>
                    <a:pt x="0" y="93"/>
                    <a:pt x="4" y="82"/>
                    <a:pt x="12" y="74"/>
                  </a:cubicBezTo>
                  <a:cubicBezTo>
                    <a:pt x="19" y="66"/>
                    <a:pt x="31" y="62"/>
                    <a:pt x="46" y="60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35"/>
                    <a:pt x="78" y="25"/>
                    <a:pt x="60" y="25"/>
                  </a:cubicBezTo>
                  <a:cubicBezTo>
                    <a:pt x="52" y="25"/>
                    <a:pt x="43" y="27"/>
                    <a:pt x="35" y="30"/>
                  </a:cubicBezTo>
                  <a:cubicBezTo>
                    <a:pt x="27" y="32"/>
                    <a:pt x="20" y="36"/>
                    <a:pt x="14" y="41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9" y="10"/>
                    <a:pt x="26" y="7"/>
                    <a:pt x="36" y="4"/>
                  </a:cubicBezTo>
                  <a:cubicBezTo>
                    <a:pt x="46" y="2"/>
                    <a:pt x="56" y="0"/>
                    <a:pt x="64" y="0"/>
                  </a:cubicBezTo>
                  <a:cubicBezTo>
                    <a:pt x="82" y="0"/>
                    <a:pt x="95" y="5"/>
                    <a:pt x="104" y="14"/>
                  </a:cubicBezTo>
                  <a:cubicBezTo>
                    <a:pt x="113" y="24"/>
                    <a:pt x="118" y="37"/>
                    <a:pt x="118" y="55"/>
                  </a:cubicBezTo>
                  <a:cubicBezTo>
                    <a:pt x="118" y="144"/>
                    <a:pt x="118" y="144"/>
                    <a:pt x="118" y="144"/>
                  </a:cubicBezTo>
                  <a:lnTo>
                    <a:pt x="87" y="144"/>
                  </a:lnTo>
                  <a:close/>
                  <a:moveTo>
                    <a:pt x="31" y="103"/>
                  </a:moveTo>
                  <a:cubicBezTo>
                    <a:pt x="31" y="109"/>
                    <a:pt x="33" y="114"/>
                    <a:pt x="38" y="117"/>
                  </a:cubicBezTo>
                  <a:cubicBezTo>
                    <a:pt x="42" y="121"/>
                    <a:pt x="48" y="123"/>
                    <a:pt x="54" y="123"/>
                  </a:cubicBezTo>
                  <a:cubicBezTo>
                    <a:pt x="64" y="123"/>
                    <a:pt x="72" y="120"/>
                    <a:pt x="78" y="113"/>
                  </a:cubicBezTo>
                  <a:cubicBezTo>
                    <a:pt x="84" y="107"/>
                    <a:pt x="87" y="99"/>
                    <a:pt x="87" y="89"/>
                  </a:cubicBezTo>
                  <a:cubicBezTo>
                    <a:pt x="87" y="76"/>
                    <a:pt x="87" y="76"/>
                    <a:pt x="87" y="76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47" y="81"/>
                    <a:pt x="40" y="84"/>
                    <a:pt x="37" y="87"/>
                  </a:cubicBezTo>
                  <a:cubicBezTo>
                    <a:pt x="33" y="91"/>
                    <a:pt x="31" y="96"/>
                    <a:pt x="31" y="103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1" name="Freeform 50"/>
            <p:cNvSpPr>
              <a:spLocks/>
            </p:cNvSpPr>
            <p:nvPr userDrawn="1"/>
          </p:nvSpPr>
          <p:spPr bwMode="auto">
            <a:xfrm>
              <a:off x="2019300" y="2549526"/>
              <a:ext cx="144463" cy="301625"/>
            </a:xfrm>
            <a:custGeom>
              <a:avLst/>
              <a:gdLst>
                <a:gd name="T0" fmla="*/ 89 w 89"/>
                <a:gd name="T1" fmla="*/ 181 h 186"/>
                <a:gd name="T2" fmla="*/ 79 w 89"/>
                <a:gd name="T3" fmla="*/ 184 h 186"/>
                <a:gd name="T4" fmla="*/ 64 w 89"/>
                <a:gd name="T5" fmla="*/ 186 h 186"/>
                <a:gd name="T6" fmla="*/ 23 w 89"/>
                <a:gd name="T7" fmla="*/ 141 h 186"/>
                <a:gd name="T8" fmla="*/ 23 w 89"/>
                <a:gd name="T9" fmla="*/ 67 h 186"/>
                <a:gd name="T10" fmla="*/ 0 w 89"/>
                <a:gd name="T11" fmla="*/ 67 h 186"/>
                <a:gd name="T12" fmla="*/ 0 w 89"/>
                <a:gd name="T13" fmla="*/ 42 h 186"/>
                <a:gd name="T14" fmla="*/ 23 w 89"/>
                <a:gd name="T15" fmla="*/ 42 h 186"/>
                <a:gd name="T16" fmla="*/ 23 w 89"/>
                <a:gd name="T17" fmla="*/ 9 h 186"/>
                <a:gd name="T18" fmla="*/ 55 w 89"/>
                <a:gd name="T19" fmla="*/ 0 h 186"/>
                <a:gd name="T20" fmla="*/ 55 w 89"/>
                <a:gd name="T21" fmla="*/ 42 h 186"/>
                <a:gd name="T22" fmla="*/ 89 w 89"/>
                <a:gd name="T23" fmla="*/ 42 h 186"/>
                <a:gd name="T24" fmla="*/ 89 w 89"/>
                <a:gd name="T25" fmla="*/ 67 h 186"/>
                <a:gd name="T26" fmla="*/ 55 w 89"/>
                <a:gd name="T27" fmla="*/ 67 h 186"/>
                <a:gd name="T28" fmla="*/ 55 w 89"/>
                <a:gd name="T29" fmla="*/ 135 h 186"/>
                <a:gd name="T30" fmla="*/ 60 w 89"/>
                <a:gd name="T31" fmla="*/ 154 h 186"/>
                <a:gd name="T32" fmla="*/ 75 w 89"/>
                <a:gd name="T33" fmla="*/ 160 h 186"/>
                <a:gd name="T34" fmla="*/ 82 w 89"/>
                <a:gd name="T35" fmla="*/ 159 h 186"/>
                <a:gd name="T36" fmla="*/ 89 w 89"/>
                <a:gd name="T37" fmla="*/ 156 h 186"/>
                <a:gd name="T38" fmla="*/ 89 w 89"/>
                <a:gd name="T39" fmla="*/ 181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9" h="186">
                  <a:moveTo>
                    <a:pt x="89" y="181"/>
                  </a:moveTo>
                  <a:cubicBezTo>
                    <a:pt x="87" y="182"/>
                    <a:pt x="83" y="183"/>
                    <a:pt x="79" y="184"/>
                  </a:cubicBezTo>
                  <a:cubicBezTo>
                    <a:pt x="74" y="185"/>
                    <a:pt x="69" y="186"/>
                    <a:pt x="64" y="186"/>
                  </a:cubicBezTo>
                  <a:cubicBezTo>
                    <a:pt x="37" y="186"/>
                    <a:pt x="23" y="171"/>
                    <a:pt x="23" y="141"/>
                  </a:cubicBezTo>
                  <a:cubicBezTo>
                    <a:pt x="23" y="67"/>
                    <a:pt x="23" y="67"/>
                    <a:pt x="23" y="6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89" y="42"/>
                    <a:pt x="89" y="42"/>
                    <a:pt x="89" y="42"/>
                  </a:cubicBezTo>
                  <a:cubicBezTo>
                    <a:pt x="89" y="67"/>
                    <a:pt x="89" y="67"/>
                    <a:pt x="89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55" y="135"/>
                    <a:pt x="55" y="135"/>
                    <a:pt x="55" y="135"/>
                  </a:cubicBezTo>
                  <a:cubicBezTo>
                    <a:pt x="55" y="144"/>
                    <a:pt x="56" y="151"/>
                    <a:pt x="60" y="154"/>
                  </a:cubicBezTo>
                  <a:cubicBezTo>
                    <a:pt x="63" y="158"/>
                    <a:pt x="68" y="160"/>
                    <a:pt x="75" y="160"/>
                  </a:cubicBezTo>
                  <a:cubicBezTo>
                    <a:pt x="77" y="160"/>
                    <a:pt x="79" y="160"/>
                    <a:pt x="82" y="159"/>
                  </a:cubicBezTo>
                  <a:cubicBezTo>
                    <a:pt x="85" y="158"/>
                    <a:pt x="87" y="157"/>
                    <a:pt x="89" y="156"/>
                  </a:cubicBezTo>
                  <a:lnTo>
                    <a:pt x="89" y="181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2" name="Freeform 51"/>
            <p:cNvSpPr>
              <a:spLocks noEditPoints="1"/>
            </p:cNvSpPr>
            <p:nvPr userDrawn="1"/>
          </p:nvSpPr>
          <p:spPr bwMode="auto">
            <a:xfrm>
              <a:off x="2190750" y="2611438"/>
              <a:ext cx="190500" cy="239713"/>
            </a:xfrm>
            <a:custGeom>
              <a:avLst/>
              <a:gdLst>
                <a:gd name="T0" fmla="*/ 87 w 118"/>
                <a:gd name="T1" fmla="*/ 144 h 148"/>
                <a:gd name="T2" fmla="*/ 87 w 118"/>
                <a:gd name="T3" fmla="*/ 125 h 148"/>
                <a:gd name="T4" fmla="*/ 86 w 118"/>
                <a:gd name="T5" fmla="*/ 125 h 148"/>
                <a:gd name="T6" fmla="*/ 44 w 118"/>
                <a:gd name="T7" fmla="*/ 148 h 148"/>
                <a:gd name="T8" fmla="*/ 12 w 118"/>
                <a:gd name="T9" fmla="*/ 137 h 148"/>
                <a:gd name="T10" fmla="*/ 0 w 118"/>
                <a:gd name="T11" fmla="*/ 106 h 148"/>
                <a:gd name="T12" fmla="*/ 11 w 118"/>
                <a:gd name="T13" fmla="*/ 74 h 148"/>
                <a:gd name="T14" fmla="*/ 46 w 118"/>
                <a:gd name="T15" fmla="*/ 60 h 148"/>
                <a:gd name="T16" fmla="*/ 87 w 118"/>
                <a:gd name="T17" fmla="*/ 54 h 148"/>
                <a:gd name="T18" fmla="*/ 60 w 118"/>
                <a:gd name="T19" fmla="*/ 25 h 148"/>
                <a:gd name="T20" fmla="*/ 35 w 118"/>
                <a:gd name="T21" fmla="*/ 30 h 148"/>
                <a:gd name="T22" fmla="*/ 14 w 118"/>
                <a:gd name="T23" fmla="*/ 41 h 148"/>
                <a:gd name="T24" fmla="*/ 14 w 118"/>
                <a:gd name="T25" fmla="*/ 13 h 148"/>
                <a:gd name="T26" fmla="*/ 36 w 118"/>
                <a:gd name="T27" fmla="*/ 4 h 148"/>
                <a:gd name="T28" fmla="*/ 64 w 118"/>
                <a:gd name="T29" fmla="*/ 0 h 148"/>
                <a:gd name="T30" fmla="*/ 104 w 118"/>
                <a:gd name="T31" fmla="*/ 14 h 148"/>
                <a:gd name="T32" fmla="*/ 118 w 118"/>
                <a:gd name="T33" fmla="*/ 55 h 148"/>
                <a:gd name="T34" fmla="*/ 118 w 118"/>
                <a:gd name="T35" fmla="*/ 144 h 148"/>
                <a:gd name="T36" fmla="*/ 87 w 118"/>
                <a:gd name="T37" fmla="*/ 144 h 148"/>
                <a:gd name="T38" fmla="*/ 31 w 118"/>
                <a:gd name="T39" fmla="*/ 103 h 148"/>
                <a:gd name="T40" fmla="*/ 38 w 118"/>
                <a:gd name="T41" fmla="*/ 117 h 148"/>
                <a:gd name="T42" fmla="*/ 54 w 118"/>
                <a:gd name="T43" fmla="*/ 123 h 148"/>
                <a:gd name="T44" fmla="*/ 78 w 118"/>
                <a:gd name="T45" fmla="*/ 113 h 148"/>
                <a:gd name="T46" fmla="*/ 87 w 118"/>
                <a:gd name="T47" fmla="*/ 89 h 148"/>
                <a:gd name="T48" fmla="*/ 87 w 118"/>
                <a:gd name="T49" fmla="*/ 76 h 148"/>
                <a:gd name="T50" fmla="*/ 57 w 118"/>
                <a:gd name="T51" fmla="*/ 80 h 148"/>
                <a:gd name="T52" fmla="*/ 37 w 118"/>
                <a:gd name="T53" fmla="*/ 87 h 148"/>
                <a:gd name="T54" fmla="*/ 31 w 118"/>
                <a:gd name="T55" fmla="*/ 10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8" h="148">
                  <a:moveTo>
                    <a:pt x="87" y="144"/>
                  </a:moveTo>
                  <a:cubicBezTo>
                    <a:pt x="87" y="125"/>
                    <a:pt x="87" y="125"/>
                    <a:pt x="87" y="125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76" y="140"/>
                    <a:pt x="62" y="148"/>
                    <a:pt x="44" y="148"/>
                  </a:cubicBezTo>
                  <a:cubicBezTo>
                    <a:pt x="31" y="148"/>
                    <a:pt x="20" y="144"/>
                    <a:pt x="12" y="137"/>
                  </a:cubicBezTo>
                  <a:cubicBezTo>
                    <a:pt x="4" y="129"/>
                    <a:pt x="0" y="119"/>
                    <a:pt x="0" y="106"/>
                  </a:cubicBezTo>
                  <a:cubicBezTo>
                    <a:pt x="0" y="93"/>
                    <a:pt x="4" y="82"/>
                    <a:pt x="11" y="74"/>
                  </a:cubicBezTo>
                  <a:cubicBezTo>
                    <a:pt x="19" y="66"/>
                    <a:pt x="31" y="62"/>
                    <a:pt x="46" y="60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35"/>
                    <a:pt x="78" y="25"/>
                    <a:pt x="60" y="25"/>
                  </a:cubicBezTo>
                  <a:cubicBezTo>
                    <a:pt x="52" y="25"/>
                    <a:pt x="43" y="27"/>
                    <a:pt x="35" y="30"/>
                  </a:cubicBezTo>
                  <a:cubicBezTo>
                    <a:pt x="27" y="32"/>
                    <a:pt x="20" y="36"/>
                    <a:pt x="14" y="41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9" y="10"/>
                    <a:pt x="26" y="7"/>
                    <a:pt x="36" y="4"/>
                  </a:cubicBezTo>
                  <a:cubicBezTo>
                    <a:pt x="46" y="2"/>
                    <a:pt x="55" y="0"/>
                    <a:pt x="64" y="0"/>
                  </a:cubicBezTo>
                  <a:cubicBezTo>
                    <a:pt x="82" y="0"/>
                    <a:pt x="95" y="5"/>
                    <a:pt x="104" y="14"/>
                  </a:cubicBezTo>
                  <a:cubicBezTo>
                    <a:pt x="113" y="24"/>
                    <a:pt x="118" y="37"/>
                    <a:pt x="118" y="55"/>
                  </a:cubicBezTo>
                  <a:cubicBezTo>
                    <a:pt x="118" y="144"/>
                    <a:pt x="118" y="144"/>
                    <a:pt x="118" y="144"/>
                  </a:cubicBezTo>
                  <a:lnTo>
                    <a:pt x="87" y="144"/>
                  </a:lnTo>
                  <a:close/>
                  <a:moveTo>
                    <a:pt x="31" y="103"/>
                  </a:moveTo>
                  <a:cubicBezTo>
                    <a:pt x="31" y="109"/>
                    <a:pt x="33" y="114"/>
                    <a:pt x="38" y="117"/>
                  </a:cubicBezTo>
                  <a:cubicBezTo>
                    <a:pt x="42" y="121"/>
                    <a:pt x="48" y="123"/>
                    <a:pt x="54" y="123"/>
                  </a:cubicBezTo>
                  <a:cubicBezTo>
                    <a:pt x="64" y="123"/>
                    <a:pt x="72" y="120"/>
                    <a:pt x="78" y="113"/>
                  </a:cubicBezTo>
                  <a:cubicBezTo>
                    <a:pt x="84" y="107"/>
                    <a:pt x="87" y="99"/>
                    <a:pt x="87" y="89"/>
                  </a:cubicBezTo>
                  <a:cubicBezTo>
                    <a:pt x="87" y="76"/>
                    <a:pt x="87" y="76"/>
                    <a:pt x="87" y="76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47" y="81"/>
                    <a:pt x="40" y="84"/>
                    <a:pt x="37" y="87"/>
                  </a:cubicBezTo>
                  <a:cubicBezTo>
                    <a:pt x="33" y="91"/>
                    <a:pt x="31" y="96"/>
                    <a:pt x="31" y="103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3" name="Freeform 52"/>
            <p:cNvSpPr>
              <a:spLocks/>
            </p:cNvSpPr>
            <p:nvPr userDrawn="1"/>
          </p:nvSpPr>
          <p:spPr bwMode="auto">
            <a:xfrm>
              <a:off x="2514600" y="2527301"/>
              <a:ext cx="436563" cy="317500"/>
            </a:xfrm>
            <a:custGeom>
              <a:avLst/>
              <a:gdLst>
                <a:gd name="T0" fmla="*/ 215 w 269"/>
                <a:gd name="T1" fmla="*/ 196 h 196"/>
                <a:gd name="T2" fmla="*/ 176 w 269"/>
                <a:gd name="T3" fmla="*/ 196 h 196"/>
                <a:gd name="T4" fmla="*/ 139 w 269"/>
                <a:gd name="T5" fmla="*/ 59 h 196"/>
                <a:gd name="T6" fmla="*/ 136 w 269"/>
                <a:gd name="T7" fmla="*/ 38 h 196"/>
                <a:gd name="T8" fmla="*/ 135 w 269"/>
                <a:gd name="T9" fmla="*/ 38 h 196"/>
                <a:gd name="T10" fmla="*/ 134 w 269"/>
                <a:gd name="T11" fmla="*/ 50 h 196"/>
                <a:gd name="T12" fmla="*/ 132 w 269"/>
                <a:gd name="T13" fmla="*/ 59 h 196"/>
                <a:gd name="T14" fmla="*/ 95 w 269"/>
                <a:gd name="T15" fmla="*/ 196 h 196"/>
                <a:gd name="T16" fmla="*/ 56 w 269"/>
                <a:gd name="T17" fmla="*/ 196 h 196"/>
                <a:gd name="T18" fmla="*/ 0 w 269"/>
                <a:gd name="T19" fmla="*/ 0 h 196"/>
                <a:gd name="T20" fmla="*/ 36 w 269"/>
                <a:gd name="T21" fmla="*/ 0 h 196"/>
                <a:gd name="T22" fmla="*/ 73 w 269"/>
                <a:gd name="T23" fmla="*/ 142 h 196"/>
                <a:gd name="T24" fmla="*/ 76 w 269"/>
                <a:gd name="T25" fmla="*/ 164 h 196"/>
                <a:gd name="T26" fmla="*/ 76 w 269"/>
                <a:gd name="T27" fmla="*/ 164 h 196"/>
                <a:gd name="T28" fmla="*/ 80 w 269"/>
                <a:gd name="T29" fmla="*/ 142 h 196"/>
                <a:gd name="T30" fmla="*/ 120 w 269"/>
                <a:gd name="T31" fmla="*/ 0 h 196"/>
                <a:gd name="T32" fmla="*/ 155 w 269"/>
                <a:gd name="T33" fmla="*/ 0 h 196"/>
                <a:gd name="T34" fmla="*/ 192 w 269"/>
                <a:gd name="T35" fmla="*/ 144 h 196"/>
                <a:gd name="T36" fmla="*/ 195 w 269"/>
                <a:gd name="T37" fmla="*/ 163 h 196"/>
                <a:gd name="T38" fmla="*/ 196 w 269"/>
                <a:gd name="T39" fmla="*/ 163 h 196"/>
                <a:gd name="T40" fmla="*/ 199 w 269"/>
                <a:gd name="T41" fmla="*/ 143 h 196"/>
                <a:gd name="T42" fmla="*/ 234 w 269"/>
                <a:gd name="T43" fmla="*/ 0 h 196"/>
                <a:gd name="T44" fmla="*/ 269 w 269"/>
                <a:gd name="T45" fmla="*/ 0 h 196"/>
                <a:gd name="T46" fmla="*/ 215 w 269"/>
                <a:gd name="T47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9" h="196">
                  <a:moveTo>
                    <a:pt x="215" y="196"/>
                  </a:moveTo>
                  <a:cubicBezTo>
                    <a:pt x="176" y="196"/>
                    <a:pt x="176" y="196"/>
                    <a:pt x="176" y="196"/>
                  </a:cubicBezTo>
                  <a:cubicBezTo>
                    <a:pt x="139" y="59"/>
                    <a:pt x="139" y="59"/>
                    <a:pt x="139" y="59"/>
                  </a:cubicBezTo>
                  <a:cubicBezTo>
                    <a:pt x="137" y="53"/>
                    <a:pt x="136" y="46"/>
                    <a:pt x="136" y="38"/>
                  </a:cubicBezTo>
                  <a:cubicBezTo>
                    <a:pt x="135" y="38"/>
                    <a:pt x="135" y="38"/>
                    <a:pt x="135" y="38"/>
                  </a:cubicBezTo>
                  <a:cubicBezTo>
                    <a:pt x="135" y="42"/>
                    <a:pt x="134" y="45"/>
                    <a:pt x="134" y="50"/>
                  </a:cubicBezTo>
                  <a:cubicBezTo>
                    <a:pt x="133" y="55"/>
                    <a:pt x="132" y="58"/>
                    <a:pt x="132" y="59"/>
                  </a:cubicBezTo>
                  <a:cubicBezTo>
                    <a:pt x="95" y="196"/>
                    <a:pt x="95" y="196"/>
                    <a:pt x="95" y="196"/>
                  </a:cubicBezTo>
                  <a:cubicBezTo>
                    <a:pt x="56" y="196"/>
                    <a:pt x="56" y="196"/>
                    <a:pt x="56" y="19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73" y="142"/>
                    <a:pt x="73" y="142"/>
                    <a:pt x="73" y="142"/>
                  </a:cubicBezTo>
                  <a:cubicBezTo>
                    <a:pt x="74" y="146"/>
                    <a:pt x="75" y="153"/>
                    <a:pt x="76" y="164"/>
                  </a:cubicBezTo>
                  <a:cubicBezTo>
                    <a:pt x="76" y="164"/>
                    <a:pt x="76" y="164"/>
                    <a:pt x="76" y="164"/>
                  </a:cubicBezTo>
                  <a:cubicBezTo>
                    <a:pt x="77" y="158"/>
                    <a:pt x="78" y="151"/>
                    <a:pt x="80" y="142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92" y="144"/>
                    <a:pt x="192" y="144"/>
                    <a:pt x="192" y="144"/>
                  </a:cubicBezTo>
                  <a:cubicBezTo>
                    <a:pt x="194" y="148"/>
                    <a:pt x="195" y="155"/>
                    <a:pt x="195" y="163"/>
                  </a:cubicBezTo>
                  <a:cubicBezTo>
                    <a:pt x="196" y="163"/>
                    <a:pt x="196" y="163"/>
                    <a:pt x="196" y="163"/>
                  </a:cubicBezTo>
                  <a:cubicBezTo>
                    <a:pt x="196" y="157"/>
                    <a:pt x="197" y="150"/>
                    <a:pt x="199" y="143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69" y="0"/>
                    <a:pt x="269" y="0"/>
                    <a:pt x="269" y="0"/>
                  </a:cubicBezTo>
                  <a:lnTo>
                    <a:pt x="215" y="196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4" name="Freeform 53"/>
            <p:cNvSpPr>
              <a:spLocks noEditPoints="1"/>
            </p:cNvSpPr>
            <p:nvPr userDrawn="1"/>
          </p:nvSpPr>
          <p:spPr bwMode="auto">
            <a:xfrm>
              <a:off x="2955925" y="2611438"/>
              <a:ext cx="190500" cy="239713"/>
            </a:xfrm>
            <a:custGeom>
              <a:avLst/>
              <a:gdLst>
                <a:gd name="T0" fmla="*/ 87 w 118"/>
                <a:gd name="T1" fmla="*/ 144 h 148"/>
                <a:gd name="T2" fmla="*/ 87 w 118"/>
                <a:gd name="T3" fmla="*/ 125 h 148"/>
                <a:gd name="T4" fmla="*/ 86 w 118"/>
                <a:gd name="T5" fmla="*/ 125 h 148"/>
                <a:gd name="T6" fmla="*/ 44 w 118"/>
                <a:gd name="T7" fmla="*/ 148 h 148"/>
                <a:gd name="T8" fmla="*/ 12 w 118"/>
                <a:gd name="T9" fmla="*/ 137 h 148"/>
                <a:gd name="T10" fmla="*/ 0 w 118"/>
                <a:gd name="T11" fmla="*/ 106 h 148"/>
                <a:gd name="T12" fmla="*/ 11 w 118"/>
                <a:gd name="T13" fmla="*/ 74 h 148"/>
                <a:gd name="T14" fmla="*/ 46 w 118"/>
                <a:gd name="T15" fmla="*/ 60 h 148"/>
                <a:gd name="T16" fmla="*/ 87 w 118"/>
                <a:gd name="T17" fmla="*/ 54 h 148"/>
                <a:gd name="T18" fmla="*/ 60 w 118"/>
                <a:gd name="T19" fmla="*/ 25 h 148"/>
                <a:gd name="T20" fmla="*/ 35 w 118"/>
                <a:gd name="T21" fmla="*/ 30 h 148"/>
                <a:gd name="T22" fmla="*/ 13 w 118"/>
                <a:gd name="T23" fmla="*/ 41 h 148"/>
                <a:gd name="T24" fmla="*/ 13 w 118"/>
                <a:gd name="T25" fmla="*/ 13 h 148"/>
                <a:gd name="T26" fmla="*/ 36 w 118"/>
                <a:gd name="T27" fmla="*/ 4 h 148"/>
                <a:gd name="T28" fmla="*/ 63 w 118"/>
                <a:gd name="T29" fmla="*/ 0 h 148"/>
                <a:gd name="T30" fmla="*/ 104 w 118"/>
                <a:gd name="T31" fmla="*/ 14 h 148"/>
                <a:gd name="T32" fmla="*/ 118 w 118"/>
                <a:gd name="T33" fmla="*/ 55 h 148"/>
                <a:gd name="T34" fmla="*/ 118 w 118"/>
                <a:gd name="T35" fmla="*/ 144 h 148"/>
                <a:gd name="T36" fmla="*/ 87 w 118"/>
                <a:gd name="T37" fmla="*/ 144 h 148"/>
                <a:gd name="T38" fmla="*/ 31 w 118"/>
                <a:gd name="T39" fmla="*/ 103 h 148"/>
                <a:gd name="T40" fmla="*/ 38 w 118"/>
                <a:gd name="T41" fmla="*/ 117 h 148"/>
                <a:gd name="T42" fmla="*/ 54 w 118"/>
                <a:gd name="T43" fmla="*/ 123 h 148"/>
                <a:gd name="T44" fmla="*/ 78 w 118"/>
                <a:gd name="T45" fmla="*/ 113 h 148"/>
                <a:gd name="T46" fmla="*/ 87 w 118"/>
                <a:gd name="T47" fmla="*/ 89 h 148"/>
                <a:gd name="T48" fmla="*/ 87 w 118"/>
                <a:gd name="T49" fmla="*/ 76 h 148"/>
                <a:gd name="T50" fmla="*/ 56 w 118"/>
                <a:gd name="T51" fmla="*/ 80 h 148"/>
                <a:gd name="T52" fmla="*/ 36 w 118"/>
                <a:gd name="T53" fmla="*/ 87 h 148"/>
                <a:gd name="T54" fmla="*/ 31 w 118"/>
                <a:gd name="T55" fmla="*/ 10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8" h="148">
                  <a:moveTo>
                    <a:pt x="87" y="144"/>
                  </a:moveTo>
                  <a:cubicBezTo>
                    <a:pt x="87" y="125"/>
                    <a:pt x="87" y="125"/>
                    <a:pt x="87" y="125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76" y="140"/>
                    <a:pt x="62" y="148"/>
                    <a:pt x="44" y="148"/>
                  </a:cubicBezTo>
                  <a:cubicBezTo>
                    <a:pt x="31" y="148"/>
                    <a:pt x="20" y="144"/>
                    <a:pt x="12" y="137"/>
                  </a:cubicBezTo>
                  <a:cubicBezTo>
                    <a:pt x="4" y="129"/>
                    <a:pt x="0" y="119"/>
                    <a:pt x="0" y="106"/>
                  </a:cubicBezTo>
                  <a:cubicBezTo>
                    <a:pt x="0" y="93"/>
                    <a:pt x="4" y="82"/>
                    <a:pt x="11" y="74"/>
                  </a:cubicBezTo>
                  <a:cubicBezTo>
                    <a:pt x="19" y="66"/>
                    <a:pt x="31" y="62"/>
                    <a:pt x="46" y="60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35"/>
                    <a:pt x="78" y="25"/>
                    <a:pt x="60" y="25"/>
                  </a:cubicBezTo>
                  <a:cubicBezTo>
                    <a:pt x="52" y="25"/>
                    <a:pt x="43" y="27"/>
                    <a:pt x="35" y="30"/>
                  </a:cubicBezTo>
                  <a:cubicBezTo>
                    <a:pt x="27" y="32"/>
                    <a:pt x="20" y="36"/>
                    <a:pt x="13" y="41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9" y="10"/>
                    <a:pt x="26" y="7"/>
                    <a:pt x="36" y="4"/>
                  </a:cubicBezTo>
                  <a:cubicBezTo>
                    <a:pt x="46" y="2"/>
                    <a:pt x="55" y="0"/>
                    <a:pt x="63" y="0"/>
                  </a:cubicBezTo>
                  <a:cubicBezTo>
                    <a:pt x="82" y="0"/>
                    <a:pt x="95" y="5"/>
                    <a:pt x="104" y="14"/>
                  </a:cubicBezTo>
                  <a:cubicBezTo>
                    <a:pt x="113" y="24"/>
                    <a:pt x="118" y="37"/>
                    <a:pt x="118" y="55"/>
                  </a:cubicBezTo>
                  <a:cubicBezTo>
                    <a:pt x="118" y="144"/>
                    <a:pt x="118" y="144"/>
                    <a:pt x="118" y="144"/>
                  </a:cubicBezTo>
                  <a:lnTo>
                    <a:pt x="87" y="144"/>
                  </a:lnTo>
                  <a:close/>
                  <a:moveTo>
                    <a:pt x="31" y="103"/>
                  </a:moveTo>
                  <a:cubicBezTo>
                    <a:pt x="31" y="109"/>
                    <a:pt x="33" y="114"/>
                    <a:pt x="38" y="117"/>
                  </a:cubicBezTo>
                  <a:cubicBezTo>
                    <a:pt x="42" y="121"/>
                    <a:pt x="47" y="123"/>
                    <a:pt x="54" y="123"/>
                  </a:cubicBezTo>
                  <a:cubicBezTo>
                    <a:pt x="64" y="123"/>
                    <a:pt x="71" y="120"/>
                    <a:pt x="78" y="113"/>
                  </a:cubicBezTo>
                  <a:cubicBezTo>
                    <a:pt x="84" y="107"/>
                    <a:pt x="87" y="99"/>
                    <a:pt x="87" y="89"/>
                  </a:cubicBezTo>
                  <a:cubicBezTo>
                    <a:pt x="87" y="76"/>
                    <a:pt x="87" y="76"/>
                    <a:pt x="87" y="76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47" y="81"/>
                    <a:pt x="40" y="84"/>
                    <a:pt x="36" y="87"/>
                  </a:cubicBezTo>
                  <a:cubicBezTo>
                    <a:pt x="33" y="91"/>
                    <a:pt x="31" y="96"/>
                    <a:pt x="31" y="103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5" name="Freeform 54"/>
            <p:cNvSpPr>
              <a:spLocks/>
            </p:cNvSpPr>
            <p:nvPr userDrawn="1"/>
          </p:nvSpPr>
          <p:spPr bwMode="auto">
            <a:xfrm>
              <a:off x="3205163" y="2613026"/>
              <a:ext cx="130175" cy="231775"/>
            </a:xfrm>
            <a:custGeom>
              <a:avLst/>
              <a:gdLst>
                <a:gd name="T0" fmla="*/ 81 w 81"/>
                <a:gd name="T1" fmla="*/ 34 h 143"/>
                <a:gd name="T2" fmla="*/ 73 w 81"/>
                <a:gd name="T3" fmla="*/ 30 h 143"/>
                <a:gd name="T4" fmla="*/ 63 w 81"/>
                <a:gd name="T5" fmla="*/ 29 h 143"/>
                <a:gd name="T6" fmla="*/ 40 w 81"/>
                <a:gd name="T7" fmla="*/ 41 h 143"/>
                <a:gd name="T8" fmla="*/ 32 w 81"/>
                <a:gd name="T9" fmla="*/ 72 h 143"/>
                <a:gd name="T10" fmla="*/ 32 w 81"/>
                <a:gd name="T11" fmla="*/ 143 h 143"/>
                <a:gd name="T12" fmla="*/ 0 w 81"/>
                <a:gd name="T13" fmla="*/ 143 h 143"/>
                <a:gd name="T14" fmla="*/ 0 w 81"/>
                <a:gd name="T15" fmla="*/ 3 h 143"/>
                <a:gd name="T16" fmla="*/ 32 w 81"/>
                <a:gd name="T17" fmla="*/ 3 h 143"/>
                <a:gd name="T18" fmla="*/ 32 w 81"/>
                <a:gd name="T19" fmla="*/ 30 h 143"/>
                <a:gd name="T20" fmla="*/ 32 w 81"/>
                <a:gd name="T21" fmla="*/ 30 h 143"/>
                <a:gd name="T22" fmla="*/ 47 w 81"/>
                <a:gd name="T23" fmla="*/ 8 h 143"/>
                <a:gd name="T24" fmla="*/ 68 w 81"/>
                <a:gd name="T25" fmla="*/ 0 h 143"/>
                <a:gd name="T26" fmla="*/ 81 w 81"/>
                <a:gd name="T27" fmla="*/ 2 h 143"/>
                <a:gd name="T28" fmla="*/ 81 w 81"/>
                <a:gd name="T29" fmla="*/ 3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1" h="143">
                  <a:moveTo>
                    <a:pt x="81" y="34"/>
                  </a:moveTo>
                  <a:cubicBezTo>
                    <a:pt x="79" y="33"/>
                    <a:pt x="77" y="31"/>
                    <a:pt x="73" y="30"/>
                  </a:cubicBezTo>
                  <a:cubicBezTo>
                    <a:pt x="69" y="29"/>
                    <a:pt x="66" y="29"/>
                    <a:pt x="63" y="29"/>
                  </a:cubicBezTo>
                  <a:cubicBezTo>
                    <a:pt x="53" y="29"/>
                    <a:pt x="46" y="33"/>
                    <a:pt x="40" y="41"/>
                  </a:cubicBezTo>
                  <a:cubicBezTo>
                    <a:pt x="35" y="49"/>
                    <a:pt x="32" y="59"/>
                    <a:pt x="32" y="72"/>
                  </a:cubicBezTo>
                  <a:cubicBezTo>
                    <a:pt x="32" y="143"/>
                    <a:pt x="32" y="143"/>
                    <a:pt x="32" y="143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5" y="21"/>
                    <a:pt x="40" y="13"/>
                    <a:pt x="47" y="8"/>
                  </a:cubicBezTo>
                  <a:cubicBezTo>
                    <a:pt x="53" y="3"/>
                    <a:pt x="60" y="0"/>
                    <a:pt x="68" y="0"/>
                  </a:cubicBezTo>
                  <a:cubicBezTo>
                    <a:pt x="74" y="0"/>
                    <a:pt x="78" y="1"/>
                    <a:pt x="81" y="2"/>
                  </a:cubicBezTo>
                  <a:lnTo>
                    <a:pt x="81" y="34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6" name="Freeform 55"/>
            <p:cNvSpPr>
              <a:spLocks noEditPoints="1"/>
            </p:cNvSpPr>
            <p:nvPr userDrawn="1"/>
          </p:nvSpPr>
          <p:spPr bwMode="auto">
            <a:xfrm>
              <a:off x="3348038" y="2611438"/>
              <a:ext cx="207963" cy="239713"/>
            </a:xfrm>
            <a:custGeom>
              <a:avLst/>
              <a:gdLst>
                <a:gd name="T0" fmla="*/ 32 w 128"/>
                <a:gd name="T1" fmla="*/ 83 h 148"/>
                <a:gd name="T2" fmla="*/ 44 w 128"/>
                <a:gd name="T3" fmla="*/ 113 h 148"/>
                <a:gd name="T4" fmla="*/ 75 w 128"/>
                <a:gd name="T5" fmla="*/ 123 h 148"/>
                <a:gd name="T6" fmla="*/ 97 w 128"/>
                <a:gd name="T7" fmla="*/ 119 h 148"/>
                <a:gd name="T8" fmla="*/ 117 w 128"/>
                <a:gd name="T9" fmla="*/ 109 h 148"/>
                <a:gd name="T10" fmla="*/ 117 w 128"/>
                <a:gd name="T11" fmla="*/ 136 h 148"/>
                <a:gd name="T12" fmla="*/ 95 w 128"/>
                <a:gd name="T13" fmla="*/ 145 h 148"/>
                <a:gd name="T14" fmla="*/ 67 w 128"/>
                <a:gd name="T15" fmla="*/ 148 h 148"/>
                <a:gd name="T16" fmla="*/ 17 w 128"/>
                <a:gd name="T17" fmla="*/ 129 h 148"/>
                <a:gd name="T18" fmla="*/ 0 w 128"/>
                <a:gd name="T19" fmla="*/ 76 h 148"/>
                <a:gd name="T20" fmla="*/ 8 w 128"/>
                <a:gd name="T21" fmla="*/ 36 h 148"/>
                <a:gd name="T22" fmla="*/ 33 w 128"/>
                <a:gd name="T23" fmla="*/ 10 h 148"/>
                <a:gd name="T24" fmla="*/ 67 w 128"/>
                <a:gd name="T25" fmla="*/ 0 h 148"/>
                <a:gd name="T26" fmla="*/ 112 w 128"/>
                <a:gd name="T27" fmla="*/ 18 h 148"/>
                <a:gd name="T28" fmla="*/ 128 w 128"/>
                <a:gd name="T29" fmla="*/ 68 h 148"/>
                <a:gd name="T30" fmla="*/ 128 w 128"/>
                <a:gd name="T31" fmla="*/ 83 h 148"/>
                <a:gd name="T32" fmla="*/ 32 w 128"/>
                <a:gd name="T33" fmla="*/ 83 h 148"/>
                <a:gd name="T34" fmla="*/ 96 w 128"/>
                <a:gd name="T35" fmla="*/ 60 h 148"/>
                <a:gd name="T36" fmla="*/ 89 w 128"/>
                <a:gd name="T37" fmla="*/ 34 h 148"/>
                <a:gd name="T38" fmla="*/ 67 w 128"/>
                <a:gd name="T39" fmla="*/ 25 h 148"/>
                <a:gd name="T40" fmla="*/ 44 w 128"/>
                <a:gd name="T41" fmla="*/ 35 h 148"/>
                <a:gd name="T42" fmla="*/ 32 w 128"/>
                <a:gd name="T43" fmla="*/ 60 h 148"/>
                <a:gd name="T44" fmla="*/ 96 w 128"/>
                <a:gd name="T45" fmla="*/ 6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8" h="148">
                  <a:moveTo>
                    <a:pt x="32" y="83"/>
                  </a:moveTo>
                  <a:cubicBezTo>
                    <a:pt x="33" y="96"/>
                    <a:pt x="37" y="106"/>
                    <a:pt x="44" y="113"/>
                  </a:cubicBezTo>
                  <a:cubicBezTo>
                    <a:pt x="51" y="119"/>
                    <a:pt x="61" y="123"/>
                    <a:pt x="75" y="123"/>
                  </a:cubicBezTo>
                  <a:cubicBezTo>
                    <a:pt x="82" y="123"/>
                    <a:pt x="90" y="122"/>
                    <a:pt x="97" y="119"/>
                  </a:cubicBezTo>
                  <a:cubicBezTo>
                    <a:pt x="105" y="116"/>
                    <a:pt x="111" y="113"/>
                    <a:pt x="117" y="109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1" y="140"/>
                    <a:pt x="104" y="142"/>
                    <a:pt x="95" y="145"/>
                  </a:cubicBezTo>
                  <a:cubicBezTo>
                    <a:pt x="86" y="147"/>
                    <a:pt x="77" y="148"/>
                    <a:pt x="67" y="148"/>
                  </a:cubicBezTo>
                  <a:cubicBezTo>
                    <a:pt x="45" y="148"/>
                    <a:pt x="29" y="142"/>
                    <a:pt x="17" y="129"/>
                  </a:cubicBezTo>
                  <a:cubicBezTo>
                    <a:pt x="6" y="116"/>
                    <a:pt x="0" y="98"/>
                    <a:pt x="0" y="76"/>
                  </a:cubicBezTo>
                  <a:cubicBezTo>
                    <a:pt x="0" y="61"/>
                    <a:pt x="3" y="47"/>
                    <a:pt x="8" y="36"/>
                  </a:cubicBezTo>
                  <a:cubicBezTo>
                    <a:pt x="14" y="25"/>
                    <a:pt x="22" y="16"/>
                    <a:pt x="33" y="10"/>
                  </a:cubicBezTo>
                  <a:cubicBezTo>
                    <a:pt x="43" y="4"/>
                    <a:pt x="54" y="0"/>
                    <a:pt x="67" y="0"/>
                  </a:cubicBezTo>
                  <a:cubicBezTo>
                    <a:pt x="86" y="0"/>
                    <a:pt x="101" y="6"/>
                    <a:pt x="112" y="18"/>
                  </a:cubicBezTo>
                  <a:cubicBezTo>
                    <a:pt x="123" y="30"/>
                    <a:pt x="128" y="47"/>
                    <a:pt x="128" y="68"/>
                  </a:cubicBezTo>
                  <a:cubicBezTo>
                    <a:pt x="128" y="83"/>
                    <a:pt x="128" y="83"/>
                    <a:pt x="128" y="83"/>
                  </a:cubicBezTo>
                  <a:lnTo>
                    <a:pt x="32" y="83"/>
                  </a:lnTo>
                  <a:close/>
                  <a:moveTo>
                    <a:pt x="96" y="60"/>
                  </a:moveTo>
                  <a:cubicBezTo>
                    <a:pt x="96" y="48"/>
                    <a:pt x="94" y="40"/>
                    <a:pt x="89" y="34"/>
                  </a:cubicBezTo>
                  <a:cubicBezTo>
                    <a:pt x="83" y="28"/>
                    <a:pt x="76" y="25"/>
                    <a:pt x="67" y="25"/>
                  </a:cubicBezTo>
                  <a:cubicBezTo>
                    <a:pt x="58" y="25"/>
                    <a:pt x="50" y="28"/>
                    <a:pt x="44" y="35"/>
                  </a:cubicBezTo>
                  <a:cubicBezTo>
                    <a:pt x="38" y="41"/>
                    <a:pt x="34" y="49"/>
                    <a:pt x="32" y="60"/>
                  </a:cubicBezTo>
                  <a:lnTo>
                    <a:pt x="96" y="6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7" name="Freeform 56"/>
            <p:cNvSpPr>
              <a:spLocks/>
            </p:cNvSpPr>
            <p:nvPr userDrawn="1"/>
          </p:nvSpPr>
          <p:spPr bwMode="auto">
            <a:xfrm>
              <a:off x="3605213" y="2508251"/>
              <a:ext cx="201613" cy="336550"/>
            </a:xfrm>
            <a:custGeom>
              <a:avLst/>
              <a:gdLst>
                <a:gd name="T0" fmla="*/ 93 w 125"/>
                <a:gd name="T1" fmla="*/ 208 h 208"/>
                <a:gd name="T2" fmla="*/ 93 w 125"/>
                <a:gd name="T3" fmla="*/ 129 h 208"/>
                <a:gd name="T4" fmla="*/ 86 w 125"/>
                <a:gd name="T5" fmla="*/ 100 h 208"/>
                <a:gd name="T6" fmla="*/ 65 w 125"/>
                <a:gd name="T7" fmla="*/ 90 h 208"/>
                <a:gd name="T8" fmla="*/ 41 w 125"/>
                <a:gd name="T9" fmla="*/ 101 h 208"/>
                <a:gd name="T10" fmla="*/ 32 w 125"/>
                <a:gd name="T11" fmla="*/ 128 h 208"/>
                <a:gd name="T12" fmla="*/ 32 w 125"/>
                <a:gd name="T13" fmla="*/ 208 h 208"/>
                <a:gd name="T14" fmla="*/ 0 w 125"/>
                <a:gd name="T15" fmla="*/ 208 h 208"/>
                <a:gd name="T16" fmla="*/ 0 w 125"/>
                <a:gd name="T17" fmla="*/ 0 h 208"/>
                <a:gd name="T18" fmla="*/ 32 w 125"/>
                <a:gd name="T19" fmla="*/ 0 h 208"/>
                <a:gd name="T20" fmla="*/ 32 w 125"/>
                <a:gd name="T21" fmla="*/ 90 h 208"/>
                <a:gd name="T22" fmla="*/ 33 w 125"/>
                <a:gd name="T23" fmla="*/ 90 h 208"/>
                <a:gd name="T24" fmla="*/ 77 w 125"/>
                <a:gd name="T25" fmla="*/ 64 h 208"/>
                <a:gd name="T26" fmla="*/ 113 w 125"/>
                <a:gd name="T27" fmla="*/ 79 h 208"/>
                <a:gd name="T28" fmla="*/ 125 w 125"/>
                <a:gd name="T29" fmla="*/ 122 h 208"/>
                <a:gd name="T30" fmla="*/ 125 w 125"/>
                <a:gd name="T31" fmla="*/ 208 h 208"/>
                <a:gd name="T32" fmla="*/ 93 w 125"/>
                <a:gd name="T33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208">
                  <a:moveTo>
                    <a:pt x="93" y="208"/>
                  </a:moveTo>
                  <a:cubicBezTo>
                    <a:pt x="93" y="129"/>
                    <a:pt x="93" y="129"/>
                    <a:pt x="93" y="129"/>
                  </a:cubicBezTo>
                  <a:cubicBezTo>
                    <a:pt x="93" y="116"/>
                    <a:pt x="91" y="107"/>
                    <a:pt x="86" y="100"/>
                  </a:cubicBezTo>
                  <a:cubicBezTo>
                    <a:pt x="82" y="94"/>
                    <a:pt x="75" y="90"/>
                    <a:pt x="65" y="90"/>
                  </a:cubicBezTo>
                  <a:cubicBezTo>
                    <a:pt x="56" y="90"/>
                    <a:pt x="48" y="94"/>
                    <a:pt x="41" y="101"/>
                  </a:cubicBezTo>
                  <a:cubicBezTo>
                    <a:pt x="35" y="108"/>
                    <a:pt x="32" y="117"/>
                    <a:pt x="32" y="128"/>
                  </a:cubicBezTo>
                  <a:cubicBezTo>
                    <a:pt x="32" y="208"/>
                    <a:pt x="32" y="208"/>
                    <a:pt x="32" y="208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90"/>
                    <a:pt x="32" y="90"/>
                    <a:pt x="32" y="90"/>
                  </a:cubicBezTo>
                  <a:cubicBezTo>
                    <a:pt x="33" y="90"/>
                    <a:pt x="33" y="90"/>
                    <a:pt x="33" y="90"/>
                  </a:cubicBezTo>
                  <a:cubicBezTo>
                    <a:pt x="43" y="73"/>
                    <a:pt x="58" y="64"/>
                    <a:pt x="77" y="64"/>
                  </a:cubicBezTo>
                  <a:cubicBezTo>
                    <a:pt x="93" y="64"/>
                    <a:pt x="105" y="69"/>
                    <a:pt x="113" y="79"/>
                  </a:cubicBezTo>
                  <a:cubicBezTo>
                    <a:pt x="121" y="89"/>
                    <a:pt x="125" y="103"/>
                    <a:pt x="125" y="122"/>
                  </a:cubicBezTo>
                  <a:cubicBezTo>
                    <a:pt x="125" y="208"/>
                    <a:pt x="125" y="208"/>
                    <a:pt x="125" y="208"/>
                  </a:cubicBezTo>
                  <a:lnTo>
                    <a:pt x="93" y="208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8" name="Freeform 57"/>
            <p:cNvSpPr>
              <a:spLocks noEditPoints="1"/>
            </p:cNvSpPr>
            <p:nvPr userDrawn="1"/>
          </p:nvSpPr>
          <p:spPr bwMode="auto">
            <a:xfrm>
              <a:off x="3854450" y="2611438"/>
              <a:ext cx="234950" cy="239713"/>
            </a:xfrm>
            <a:custGeom>
              <a:avLst/>
              <a:gdLst>
                <a:gd name="T0" fmla="*/ 145 w 145"/>
                <a:gd name="T1" fmla="*/ 73 h 148"/>
                <a:gd name="T2" fmla="*/ 125 w 145"/>
                <a:gd name="T3" fmla="*/ 127 h 148"/>
                <a:gd name="T4" fmla="*/ 71 w 145"/>
                <a:gd name="T5" fmla="*/ 148 h 148"/>
                <a:gd name="T6" fmla="*/ 19 w 145"/>
                <a:gd name="T7" fmla="*/ 128 h 148"/>
                <a:gd name="T8" fmla="*/ 0 w 145"/>
                <a:gd name="T9" fmla="*/ 76 h 148"/>
                <a:gd name="T10" fmla="*/ 20 w 145"/>
                <a:gd name="T11" fmla="*/ 21 h 148"/>
                <a:gd name="T12" fmla="*/ 75 w 145"/>
                <a:gd name="T13" fmla="*/ 0 h 148"/>
                <a:gd name="T14" fmla="*/ 126 w 145"/>
                <a:gd name="T15" fmla="*/ 20 h 148"/>
                <a:gd name="T16" fmla="*/ 145 w 145"/>
                <a:gd name="T17" fmla="*/ 73 h 148"/>
                <a:gd name="T18" fmla="*/ 112 w 145"/>
                <a:gd name="T19" fmla="*/ 74 h 148"/>
                <a:gd name="T20" fmla="*/ 101 w 145"/>
                <a:gd name="T21" fmla="*/ 38 h 148"/>
                <a:gd name="T22" fmla="*/ 73 w 145"/>
                <a:gd name="T23" fmla="*/ 26 h 148"/>
                <a:gd name="T24" fmla="*/ 44 w 145"/>
                <a:gd name="T25" fmla="*/ 39 h 148"/>
                <a:gd name="T26" fmla="*/ 33 w 145"/>
                <a:gd name="T27" fmla="*/ 75 h 148"/>
                <a:gd name="T28" fmla="*/ 44 w 145"/>
                <a:gd name="T29" fmla="*/ 110 h 148"/>
                <a:gd name="T30" fmla="*/ 73 w 145"/>
                <a:gd name="T31" fmla="*/ 122 h 148"/>
                <a:gd name="T32" fmla="*/ 102 w 145"/>
                <a:gd name="T33" fmla="*/ 110 h 148"/>
                <a:gd name="T34" fmla="*/ 112 w 145"/>
                <a:gd name="T35" fmla="*/ 7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5" h="148">
                  <a:moveTo>
                    <a:pt x="145" y="73"/>
                  </a:moveTo>
                  <a:cubicBezTo>
                    <a:pt x="145" y="96"/>
                    <a:pt x="138" y="114"/>
                    <a:pt x="125" y="127"/>
                  </a:cubicBezTo>
                  <a:cubicBezTo>
                    <a:pt x="112" y="141"/>
                    <a:pt x="94" y="148"/>
                    <a:pt x="71" y="148"/>
                  </a:cubicBezTo>
                  <a:cubicBezTo>
                    <a:pt x="50" y="148"/>
                    <a:pt x="32" y="141"/>
                    <a:pt x="19" y="128"/>
                  </a:cubicBezTo>
                  <a:cubicBezTo>
                    <a:pt x="7" y="116"/>
                    <a:pt x="0" y="98"/>
                    <a:pt x="0" y="76"/>
                  </a:cubicBezTo>
                  <a:cubicBezTo>
                    <a:pt x="0" y="52"/>
                    <a:pt x="7" y="34"/>
                    <a:pt x="20" y="21"/>
                  </a:cubicBezTo>
                  <a:cubicBezTo>
                    <a:pt x="33" y="7"/>
                    <a:pt x="51" y="0"/>
                    <a:pt x="75" y="0"/>
                  </a:cubicBezTo>
                  <a:cubicBezTo>
                    <a:pt x="97" y="0"/>
                    <a:pt x="114" y="7"/>
                    <a:pt x="126" y="20"/>
                  </a:cubicBezTo>
                  <a:cubicBezTo>
                    <a:pt x="139" y="33"/>
                    <a:pt x="145" y="50"/>
                    <a:pt x="145" y="73"/>
                  </a:cubicBezTo>
                  <a:close/>
                  <a:moveTo>
                    <a:pt x="112" y="74"/>
                  </a:moveTo>
                  <a:cubicBezTo>
                    <a:pt x="112" y="58"/>
                    <a:pt x="108" y="46"/>
                    <a:pt x="101" y="38"/>
                  </a:cubicBezTo>
                  <a:cubicBezTo>
                    <a:pt x="94" y="30"/>
                    <a:pt x="85" y="26"/>
                    <a:pt x="73" y="26"/>
                  </a:cubicBezTo>
                  <a:cubicBezTo>
                    <a:pt x="60" y="26"/>
                    <a:pt x="51" y="31"/>
                    <a:pt x="44" y="39"/>
                  </a:cubicBezTo>
                  <a:cubicBezTo>
                    <a:pt x="37" y="47"/>
                    <a:pt x="33" y="59"/>
                    <a:pt x="33" y="75"/>
                  </a:cubicBezTo>
                  <a:cubicBezTo>
                    <a:pt x="33" y="90"/>
                    <a:pt x="37" y="101"/>
                    <a:pt x="44" y="110"/>
                  </a:cubicBezTo>
                  <a:cubicBezTo>
                    <a:pt x="51" y="118"/>
                    <a:pt x="61" y="122"/>
                    <a:pt x="73" y="122"/>
                  </a:cubicBezTo>
                  <a:cubicBezTo>
                    <a:pt x="86" y="122"/>
                    <a:pt x="95" y="118"/>
                    <a:pt x="102" y="110"/>
                  </a:cubicBezTo>
                  <a:cubicBezTo>
                    <a:pt x="108" y="102"/>
                    <a:pt x="112" y="90"/>
                    <a:pt x="112" y="74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9" name="Freeform 58"/>
            <p:cNvSpPr>
              <a:spLocks/>
            </p:cNvSpPr>
            <p:nvPr userDrawn="1"/>
          </p:nvSpPr>
          <p:spPr bwMode="auto">
            <a:xfrm>
              <a:off x="4135438" y="2617788"/>
              <a:ext cx="203200" cy="233363"/>
            </a:xfrm>
            <a:custGeom>
              <a:avLst/>
              <a:gdLst>
                <a:gd name="T0" fmla="*/ 93 w 125"/>
                <a:gd name="T1" fmla="*/ 140 h 144"/>
                <a:gd name="T2" fmla="*/ 93 w 125"/>
                <a:gd name="T3" fmla="*/ 119 h 144"/>
                <a:gd name="T4" fmla="*/ 93 w 125"/>
                <a:gd name="T5" fmla="*/ 119 h 144"/>
                <a:gd name="T6" fmla="*/ 75 w 125"/>
                <a:gd name="T7" fmla="*/ 137 h 144"/>
                <a:gd name="T8" fmla="*/ 50 w 125"/>
                <a:gd name="T9" fmla="*/ 144 h 144"/>
                <a:gd name="T10" fmla="*/ 13 w 125"/>
                <a:gd name="T11" fmla="*/ 129 h 144"/>
                <a:gd name="T12" fmla="*/ 0 w 125"/>
                <a:gd name="T13" fmla="*/ 85 h 144"/>
                <a:gd name="T14" fmla="*/ 0 w 125"/>
                <a:gd name="T15" fmla="*/ 0 h 144"/>
                <a:gd name="T16" fmla="*/ 32 w 125"/>
                <a:gd name="T17" fmla="*/ 0 h 144"/>
                <a:gd name="T18" fmla="*/ 32 w 125"/>
                <a:gd name="T19" fmla="*/ 81 h 144"/>
                <a:gd name="T20" fmla="*/ 61 w 125"/>
                <a:gd name="T21" fmla="*/ 118 h 144"/>
                <a:gd name="T22" fmla="*/ 85 w 125"/>
                <a:gd name="T23" fmla="*/ 108 h 144"/>
                <a:gd name="T24" fmla="*/ 93 w 125"/>
                <a:gd name="T25" fmla="*/ 81 h 144"/>
                <a:gd name="T26" fmla="*/ 93 w 125"/>
                <a:gd name="T27" fmla="*/ 0 h 144"/>
                <a:gd name="T28" fmla="*/ 125 w 125"/>
                <a:gd name="T29" fmla="*/ 0 h 144"/>
                <a:gd name="T30" fmla="*/ 125 w 125"/>
                <a:gd name="T31" fmla="*/ 140 h 144"/>
                <a:gd name="T32" fmla="*/ 93 w 125"/>
                <a:gd name="T33" fmla="*/ 14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144">
                  <a:moveTo>
                    <a:pt x="93" y="140"/>
                  </a:moveTo>
                  <a:cubicBezTo>
                    <a:pt x="93" y="119"/>
                    <a:pt x="93" y="119"/>
                    <a:pt x="93" y="119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88" y="127"/>
                    <a:pt x="83" y="133"/>
                    <a:pt x="75" y="137"/>
                  </a:cubicBezTo>
                  <a:cubicBezTo>
                    <a:pt x="68" y="142"/>
                    <a:pt x="60" y="144"/>
                    <a:pt x="50" y="144"/>
                  </a:cubicBezTo>
                  <a:cubicBezTo>
                    <a:pt x="34" y="144"/>
                    <a:pt x="21" y="139"/>
                    <a:pt x="13" y="129"/>
                  </a:cubicBezTo>
                  <a:cubicBezTo>
                    <a:pt x="4" y="119"/>
                    <a:pt x="0" y="105"/>
                    <a:pt x="0" y="8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2" y="106"/>
                    <a:pt x="42" y="118"/>
                    <a:pt x="61" y="118"/>
                  </a:cubicBezTo>
                  <a:cubicBezTo>
                    <a:pt x="71" y="118"/>
                    <a:pt x="79" y="115"/>
                    <a:pt x="85" y="108"/>
                  </a:cubicBezTo>
                  <a:cubicBezTo>
                    <a:pt x="90" y="101"/>
                    <a:pt x="93" y="92"/>
                    <a:pt x="93" y="81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40"/>
                    <a:pt x="125" y="140"/>
                    <a:pt x="125" y="140"/>
                  </a:cubicBezTo>
                  <a:lnTo>
                    <a:pt x="93" y="14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0" name="Freeform 59"/>
            <p:cNvSpPr>
              <a:spLocks/>
            </p:cNvSpPr>
            <p:nvPr userDrawn="1"/>
          </p:nvSpPr>
          <p:spPr bwMode="auto">
            <a:xfrm>
              <a:off x="4392613" y="2611438"/>
              <a:ext cx="150813" cy="239713"/>
            </a:xfrm>
            <a:custGeom>
              <a:avLst/>
              <a:gdLst>
                <a:gd name="T0" fmla="*/ 93 w 93"/>
                <a:gd name="T1" fmla="*/ 104 h 148"/>
                <a:gd name="T2" fmla="*/ 78 w 93"/>
                <a:gd name="T3" fmla="*/ 136 h 148"/>
                <a:gd name="T4" fmla="*/ 37 w 93"/>
                <a:gd name="T5" fmla="*/ 148 h 148"/>
                <a:gd name="T6" fmla="*/ 18 w 93"/>
                <a:gd name="T7" fmla="*/ 146 h 148"/>
                <a:gd name="T8" fmla="*/ 0 w 93"/>
                <a:gd name="T9" fmla="*/ 140 h 148"/>
                <a:gd name="T10" fmla="*/ 0 w 93"/>
                <a:gd name="T11" fmla="*/ 110 h 148"/>
                <a:gd name="T12" fmla="*/ 19 w 93"/>
                <a:gd name="T13" fmla="*/ 120 h 148"/>
                <a:gd name="T14" fmla="*/ 38 w 93"/>
                <a:gd name="T15" fmla="*/ 123 h 148"/>
                <a:gd name="T16" fmla="*/ 61 w 93"/>
                <a:gd name="T17" fmla="*/ 108 h 148"/>
                <a:gd name="T18" fmla="*/ 59 w 93"/>
                <a:gd name="T19" fmla="*/ 99 h 148"/>
                <a:gd name="T20" fmla="*/ 51 w 93"/>
                <a:gd name="T21" fmla="*/ 93 h 148"/>
                <a:gd name="T22" fmla="*/ 34 w 93"/>
                <a:gd name="T23" fmla="*/ 85 h 148"/>
                <a:gd name="T24" fmla="*/ 13 w 93"/>
                <a:gd name="T25" fmla="*/ 73 h 148"/>
                <a:gd name="T26" fmla="*/ 3 w 93"/>
                <a:gd name="T27" fmla="*/ 61 h 148"/>
                <a:gd name="T28" fmla="*/ 0 w 93"/>
                <a:gd name="T29" fmla="*/ 43 h 148"/>
                <a:gd name="T30" fmla="*/ 15 w 93"/>
                <a:gd name="T31" fmla="*/ 12 h 148"/>
                <a:gd name="T32" fmla="*/ 54 w 93"/>
                <a:gd name="T33" fmla="*/ 0 h 148"/>
                <a:gd name="T34" fmla="*/ 70 w 93"/>
                <a:gd name="T35" fmla="*/ 2 h 148"/>
                <a:gd name="T36" fmla="*/ 85 w 93"/>
                <a:gd name="T37" fmla="*/ 6 h 148"/>
                <a:gd name="T38" fmla="*/ 85 w 93"/>
                <a:gd name="T39" fmla="*/ 35 h 148"/>
                <a:gd name="T40" fmla="*/ 70 w 93"/>
                <a:gd name="T41" fmla="*/ 28 h 148"/>
                <a:gd name="T42" fmla="*/ 53 w 93"/>
                <a:gd name="T43" fmla="*/ 25 h 148"/>
                <a:gd name="T44" fmla="*/ 38 w 93"/>
                <a:gd name="T45" fmla="*/ 30 h 148"/>
                <a:gd name="T46" fmla="*/ 32 w 93"/>
                <a:gd name="T47" fmla="*/ 40 h 148"/>
                <a:gd name="T48" fmla="*/ 37 w 93"/>
                <a:gd name="T49" fmla="*/ 52 h 148"/>
                <a:gd name="T50" fmla="*/ 57 w 93"/>
                <a:gd name="T51" fmla="*/ 63 h 148"/>
                <a:gd name="T52" fmla="*/ 85 w 93"/>
                <a:gd name="T53" fmla="*/ 80 h 148"/>
                <a:gd name="T54" fmla="*/ 93 w 93"/>
                <a:gd name="T55" fmla="*/ 10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3" h="148">
                  <a:moveTo>
                    <a:pt x="93" y="104"/>
                  </a:moveTo>
                  <a:cubicBezTo>
                    <a:pt x="93" y="117"/>
                    <a:pt x="88" y="128"/>
                    <a:pt x="78" y="136"/>
                  </a:cubicBezTo>
                  <a:cubicBezTo>
                    <a:pt x="68" y="144"/>
                    <a:pt x="54" y="148"/>
                    <a:pt x="37" y="148"/>
                  </a:cubicBezTo>
                  <a:cubicBezTo>
                    <a:pt x="31" y="148"/>
                    <a:pt x="25" y="147"/>
                    <a:pt x="18" y="146"/>
                  </a:cubicBezTo>
                  <a:cubicBezTo>
                    <a:pt x="11" y="144"/>
                    <a:pt x="5" y="142"/>
                    <a:pt x="0" y="14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6" y="114"/>
                    <a:pt x="12" y="117"/>
                    <a:pt x="19" y="120"/>
                  </a:cubicBezTo>
                  <a:cubicBezTo>
                    <a:pt x="26" y="122"/>
                    <a:pt x="33" y="123"/>
                    <a:pt x="38" y="123"/>
                  </a:cubicBezTo>
                  <a:cubicBezTo>
                    <a:pt x="53" y="123"/>
                    <a:pt x="61" y="118"/>
                    <a:pt x="61" y="108"/>
                  </a:cubicBezTo>
                  <a:cubicBezTo>
                    <a:pt x="61" y="104"/>
                    <a:pt x="60" y="102"/>
                    <a:pt x="59" y="99"/>
                  </a:cubicBezTo>
                  <a:cubicBezTo>
                    <a:pt x="57" y="97"/>
                    <a:pt x="55" y="95"/>
                    <a:pt x="51" y="93"/>
                  </a:cubicBezTo>
                  <a:cubicBezTo>
                    <a:pt x="47" y="91"/>
                    <a:pt x="41" y="88"/>
                    <a:pt x="34" y="85"/>
                  </a:cubicBezTo>
                  <a:cubicBezTo>
                    <a:pt x="24" y="81"/>
                    <a:pt x="18" y="77"/>
                    <a:pt x="13" y="73"/>
                  </a:cubicBezTo>
                  <a:cubicBezTo>
                    <a:pt x="9" y="70"/>
                    <a:pt x="5" y="65"/>
                    <a:pt x="3" y="61"/>
                  </a:cubicBezTo>
                  <a:cubicBezTo>
                    <a:pt x="1" y="56"/>
                    <a:pt x="0" y="50"/>
                    <a:pt x="0" y="43"/>
                  </a:cubicBezTo>
                  <a:cubicBezTo>
                    <a:pt x="0" y="31"/>
                    <a:pt x="5" y="20"/>
                    <a:pt x="15" y="12"/>
                  </a:cubicBezTo>
                  <a:cubicBezTo>
                    <a:pt x="25" y="4"/>
                    <a:pt x="38" y="0"/>
                    <a:pt x="54" y="0"/>
                  </a:cubicBezTo>
                  <a:cubicBezTo>
                    <a:pt x="59" y="0"/>
                    <a:pt x="64" y="1"/>
                    <a:pt x="70" y="2"/>
                  </a:cubicBezTo>
                  <a:cubicBezTo>
                    <a:pt x="77" y="3"/>
                    <a:pt x="82" y="5"/>
                    <a:pt x="85" y="6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1" y="32"/>
                    <a:pt x="76" y="30"/>
                    <a:pt x="70" y="28"/>
                  </a:cubicBezTo>
                  <a:cubicBezTo>
                    <a:pt x="64" y="26"/>
                    <a:pt x="58" y="25"/>
                    <a:pt x="53" y="25"/>
                  </a:cubicBezTo>
                  <a:cubicBezTo>
                    <a:pt x="46" y="25"/>
                    <a:pt x="41" y="27"/>
                    <a:pt x="38" y="30"/>
                  </a:cubicBezTo>
                  <a:cubicBezTo>
                    <a:pt x="34" y="32"/>
                    <a:pt x="32" y="36"/>
                    <a:pt x="32" y="40"/>
                  </a:cubicBezTo>
                  <a:cubicBezTo>
                    <a:pt x="32" y="45"/>
                    <a:pt x="34" y="49"/>
                    <a:pt x="37" y="52"/>
                  </a:cubicBezTo>
                  <a:cubicBezTo>
                    <a:pt x="39" y="55"/>
                    <a:pt x="46" y="58"/>
                    <a:pt x="57" y="63"/>
                  </a:cubicBezTo>
                  <a:cubicBezTo>
                    <a:pt x="70" y="68"/>
                    <a:pt x="79" y="74"/>
                    <a:pt x="85" y="80"/>
                  </a:cubicBezTo>
                  <a:cubicBezTo>
                    <a:pt x="90" y="87"/>
                    <a:pt x="93" y="95"/>
                    <a:pt x="93" y="104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1" name="Freeform 60"/>
            <p:cNvSpPr>
              <a:spLocks noEditPoints="1"/>
            </p:cNvSpPr>
            <p:nvPr userDrawn="1"/>
          </p:nvSpPr>
          <p:spPr bwMode="auto">
            <a:xfrm>
              <a:off x="4576763" y="2611438"/>
              <a:ext cx="207963" cy="239713"/>
            </a:xfrm>
            <a:custGeom>
              <a:avLst/>
              <a:gdLst>
                <a:gd name="T0" fmla="*/ 33 w 129"/>
                <a:gd name="T1" fmla="*/ 83 h 148"/>
                <a:gd name="T2" fmla="*/ 44 w 129"/>
                <a:gd name="T3" fmla="*/ 113 h 148"/>
                <a:gd name="T4" fmla="*/ 75 w 129"/>
                <a:gd name="T5" fmla="*/ 123 h 148"/>
                <a:gd name="T6" fmla="*/ 98 w 129"/>
                <a:gd name="T7" fmla="*/ 119 h 148"/>
                <a:gd name="T8" fmla="*/ 117 w 129"/>
                <a:gd name="T9" fmla="*/ 109 h 148"/>
                <a:gd name="T10" fmla="*/ 117 w 129"/>
                <a:gd name="T11" fmla="*/ 136 h 148"/>
                <a:gd name="T12" fmla="*/ 96 w 129"/>
                <a:gd name="T13" fmla="*/ 145 h 148"/>
                <a:gd name="T14" fmla="*/ 67 w 129"/>
                <a:gd name="T15" fmla="*/ 148 h 148"/>
                <a:gd name="T16" fmla="*/ 18 w 129"/>
                <a:gd name="T17" fmla="*/ 129 h 148"/>
                <a:gd name="T18" fmla="*/ 0 w 129"/>
                <a:gd name="T19" fmla="*/ 76 h 148"/>
                <a:gd name="T20" fmla="*/ 9 w 129"/>
                <a:gd name="T21" fmla="*/ 36 h 148"/>
                <a:gd name="T22" fmla="*/ 33 w 129"/>
                <a:gd name="T23" fmla="*/ 10 h 148"/>
                <a:gd name="T24" fmla="*/ 67 w 129"/>
                <a:gd name="T25" fmla="*/ 0 h 148"/>
                <a:gd name="T26" fmla="*/ 112 w 129"/>
                <a:gd name="T27" fmla="*/ 18 h 148"/>
                <a:gd name="T28" fmla="*/ 129 w 129"/>
                <a:gd name="T29" fmla="*/ 68 h 148"/>
                <a:gd name="T30" fmla="*/ 129 w 129"/>
                <a:gd name="T31" fmla="*/ 83 h 148"/>
                <a:gd name="T32" fmla="*/ 33 w 129"/>
                <a:gd name="T33" fmla="*/ 83 h 148"/>
                <a:gd name="T34" fmla="*/ 97 w 129"/>
                <a:gd name="T35" fmla="*/ 60 h 148"/>
                <a:gd name="T36" fmla="*/ 89 w 129"/>
                <a:gd name="T37" fmla="*/ 34 h 148"/>
                <a:gd name="T38" fmla="*/ 67 w 129"/>
                <a:gd name="T39" fmla="*/ 25 h 148"/>
                <a:gd name="T40" fmla="*/ 45 w 129"/>
                <a:gd name="T41" fmla="*/ 35 h 148"/>
                <a:gd name="T42" fmla="*/ 33 w 129"/>
                <a:gd name="T43" fmla="*/ 60 h 148"/>
                <a:gd name="T44" fmla="*/ 97 w 129"/>
                <a:gd name="T45" fmla="*/ 6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9" h="148">
                  <a:moveTo>
                    <a:pt x="33" y="83"/>
                  </a:moveTo>
                  <a:cubicBezTo>
                    <a:pt x="33" y="96"/>
                    <a:pt x="37" y="106"/>
                    <a:pt x="44" y="113"/>
                  </a:cubicBezTo>
                  <a:cubicBezTo>
                    <a:pt x="52" y="119"/>
                    <a:pt x="62" y="123"/>
                    <a:pt x="75" y="123"/>
                  </a:cubicBezTo>
                  <a:cubicBezTo>
                    <a:pt x="83" y="123"/>
                    <a:pt x="91" y="122"/>
                    <a:pt x="98" y="119"/>
                  </a:cubicBezTo>
                  <a:cubicBezTo>
                    <a:pt x="105" y="116"/>
                    <a:pt x="112" y="113"/>
                    <a:pt x="117" y="109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2" y="140"/>
                    <a:pt x="105" y="142"/>
                    <a:pt x="96" y="145"/>
                  </a:cubicBezTo>
                  <a:cubicBezTo>
                    <a:pt x="87" y="147"/>
                    <a:pt x="77" y="148"/>
                    <a:pt x="67" y="148"/>
                  </a:cubicBezTo>
                  <a:cubicBezTo>
                    <a:pt x="46" y="148"/>
                    <a:pt x="30" y="142"/>
                    <a:pt x="18" y="129"/>
                  </a:cubicBezTo>
                  <a:cubicBezTo>
                    <a:pt x="6" y="116"/>
                    <a:pt x="0" y="98"/>
                    <a:pt x="0" y="76"/>
                  </a:cubicBezTo>
                  <a:cubicBezTo>
                    <a:pt x="0" y="61"/>
                    <a:pt x="3" y="47"/>
                    <a:pt x="9" y="36"/>
                  </a:cubicBezTo>
                  <a:cubicBezTo>
                    <a:pt x="15" y="25"/>
                    <a:pt x="23" y="16"/>
                    <a:pt x="33" y="10"/>
                  </a:cubicBezTo>
                  <a:cubicBezTo>
                    <a:pt x="43" y="4"/>
                    <a:pt x="55" y="0"/>
                    <a:pt x="67" y="0"/>
                  </a:cubicBezTo>
                  <a:cubicBezTo>
                    <a:pt x="87" y="0"/>
                    <a:pt x="102" y="6"/>
                    <a:pt x="112" y="18"/>
                  </a:cubicBezTo>
                  <a:cubicBezTo>
                    <a:pt x="123" y="30"/>
                    <a:pt x="129" y="47"/>
                    <a:pt x="129" y="68"/>
                  </a:cubicBezTo>
                  <a:cubicBezTo>
                    <a:pt x="129" y="83"/>
                    <a:pt x="129" y="83"/>
                    <a:pt x="129" y="83"/>
                  </a:cubicBezTo>
                  <a:lnTo>
                    <a:pt x="33" y="83"/>
                  </a:lnTo>
                  <a:close/>
                  <a:moveTo>
                    <a:pt x="97" y="60"/>
                  </a:moveTo>
                  <a:cubicBezTo>
                    <a:pt x="97" y="48"/>
                    <a:pt x="94" y="40"/>
                    <a:pt x="89" y="34"/>
                  </a:cubicBezTo>
                  <a:cubicBezTo>
                    <a:pt x="84" y="28"/>
                    <a:pt x="77" y="25"/>
                    <a:pt x="67" y="25"/>
                  </a:cubicBezTo>
                  <a:cubicBezTo>
                    <a:pt x="59" y="25"/>
                    <a:pt x="51" y="28"/>
                    <a:pt x="45" y="35"/>
                  </a:cubicBezTo>
                  <a:cubicBezTo>
                    <a:pt x="38" y="41"/>
                    <a:pt x="34" y="49"/>
                    <a:pt x="33" y="60"/>
                  </a:cubicBezTo>
                  <a:lnTo>
                    <a:pt x="97" y="6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132" name="Group 131"/>
          <p:cNvGrpSpPr/>
          <p:nvPr userDrawn="1"/>
        </p:nvGrpSpPr>
        <p:grpSpPr>
          <a:xfrm>
            <a:off x="4540484" y="888770"/>
            <a:ext cx="4776264" cy="4702229"/>
            <a:chOff x="3657600" y="-6505575"/>
            <a:chExt cx="4872038" cy="4795838"/>
          </a:xfrm>
        </p:grpSpPr>
        <p:sp>
          <p:nvSpPr>
            <p:cNvPr id="133" name="Freeform 78"/>
            <p:cNvSpPr>
              <a:spLocks/>
            </p:cNvSpPr>
            <p:nvPr userDrawn="1"/>
          </p:nvSpPr>
          <p:spPr bwMode="auto">
            <a:xfrm>
              <a:off x="6442075" y="-3392488"/>
              <a:ext cx="1101725" cy="520700"/>
            </a:xfrm>
            <a:custGeom>
              <a:avLst/>
              <a:gdLst>
                <a:gd name="T0" fmla="*/ 0 w 694"/>
                <a:gd name="T1" fmla="*/ 256 h 328"/>
                <a:gd name="T2" fmla="*/ 125 w 694"/>
                <a:gd name="T3" fmla="*/ 328 h 328"/>
                <a:gd name="T4" fmla="*/ 694 w 694"/>
                <a:gd name="T5" fmla="*/ 0 h 328"/>
                <a:gd name="T6" fmla="*/ 694 w 694"/>
                <a:gd name="T7" fmla="*/ 0 h 328"/>
                <a:gd name="T8" fmla="*/ 125 w 694"/>
                <a:gd name="T9" fmla="*/ 328 h 328"/>
                <a:gd name="T10" fmla="*/ 0 w 694"/>
                <a:gd name="T11" fmla="*/ 256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4" h="328">
                  <a:moveTo>
                    <a:pt x="0" y="256"/>
                  </a:moveTo>
                  <a:lnTo>
                    <a:pt x="125" y="328"/>
                  </a:lnTo>
                  <a:lnTo>
                    <a:pt x="694" y="0"/>
                  </a:lnTo>
                  <a:lnTo>
                    <a:pt x="694" y="0"/>
                  </a:lnTo>
                  <a:lnTo>
                    <a:pt x="125" y="328"/>
                  </a:lnTo>
                  <a:lnTo>
                    <a:pt x="0" y="256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4" name="Freeform 87"/>
            <p:cNvSpPr>
              <a:spLocks/>
            </p:cNvSpPr>
            <p:nvPr userDrawn="1"/>
          </p:nvSpPr>
          <p:spPr bwMode="auto">
            <a:xfrm>
              <a:off x="5737225" y="-5473700"/>
              <a:ext cx="903288" cy="1560513"/>
            </a:xfrm>
            <a:custGeom>
              <a:avLst/>
              <a:gdLst>
                <a:gd name="T0" fmla="*/ 569 w 569"/>
                <a:gd name="T1" fmla="*/ 983 h 983"/>
                <a:gd name="T2" fmla="*/ 0 w 569"/>
                <a:gd name="T3" fmla="*/ 655 h 983"/>
                <a:gd name="T4" fmla="*/ 0 w 569"/>
                <a:gd name="T5" fmla="*/ 0 h 983"/>
                <a:gd name="T6" fmla="*/ 569 w 569"/>
                <a:gd name="T7" fmla="*/ 329 h 983"/>
                <a:gd name="T8" fmla="*/ 569 w 569"/>
                <a:gd name="T9" fmla="*/ 983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9" h="983">
                  <a:moveTo>
                    <a:pt x="569" y="983"/>
                  </a:moveTo>
                  <a:lnTo>
                    <a:pt x="0" y="655"/>
                  </a:lnTo>
                  <a:lnTo>
                    <a:pt x="0" y="0"/>
                  </a:lnTo>
                  <a:lnTo>
                    <a:pt x="569" y="329"/>
                  </a:lnTo>
                  <a:lnTo>
                    <a:pt x="569" y="983"/>
                  </a:lnTo>
                  <a:close/>
                </a:path>
              </a:pathLst>
            </a:custGeom>
            <a:solidFill>
              <a:srgbClr val="CECEC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5" name="Freeform 88"/>
            <p:cNvSpPr>
              <a:spLocks/>
            </p:cNvSpPr>
            <p:nvPr userDrawn="1"/>
          </p:nvSpPr>
          <p:spPr bwMode="auto">
            <a:xfrm>
              <a:off x="5299075" y="-4183063"/>
              <a:ext cx="790575" cy="1233488"/>
            </a:xfrm>
            <a:custGeom>
              <a:avLst/>
              <a:gdLst>
                <a:gd name="T0" fmla="*/ 271 w 489"/>
                <a:gd name="T1" fmla="*/ 157 h 763"/>
                <a:gd name="T2" fmla="*/ 0 w 489"/>
                <a:gd name="T3" fmla="*/ 0 h 763"/>
                <a:gd name="T4" fmla="*/ 0 w 489"/>
                <a:gd name="T5" fmla="*/ 641 h 763"/>
                <a:gd name="T6" fmla="*/ 102 w 489"/>
                <a:gd name="T7" fmla="*/ 629 h 763"/>
                <a:gd name="T8" fmla="*/ 423 w 489"/>
                <a:gd name="T9" fmla="*/ 763 h 763"/>
                <a:gd name="T10" fmla="*/ 489 w 489"/>
                <a:gd name="T11" fmla="*/ 615 h 763"/>
                <a:gd name="T12" fmla="*/ 271 w 489"/>
                <a:gd name="T13" fmla="*/ 489 h 763"/>
                <a:gd name="T14" fmla="*/ 271 w 489"/>
                <a:gd name="T15" fmla="*/ 157 h 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9" h="763">
                  <a:moveTo>
                    <a:pt x="271" y="15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41"/>
                    <a:pt x="0" y="641"/>
                    <a:pt x="0" y="641"/>
                  </a:cubicBezTo>
                  <a:cubicBezTo>
                    <a:pt x="33" y="633"/>
                    <a:pt x="67" y="629"/>
                    <a:pt x="102" y="629"/>
                  </a:cubicBezTo>
                  <a:cubicBezTo>
                    <a:pt x="229" y="629"/>
                    <a:pt x="341" y="681"/>
                    <a:pt x="423" y="763"/>
                  </a:cubicBezTo>
                  <a:cubicBezTo>
                    <a:pt x="439" y="711"/>
                    <a:pt x="461" y="661"/>
                    <a:pt x="489" y="615"/>
                  </a:cubicBezTo>
                  <a:cubicBezTo>
                    <a:pt x="271" y="489"/>
                    <a:pt x="271" y="489"/>
                    <a:pt x="271" y="489"/>
                  </a:cubicBezTo>
                  <a:lnTo>
                    <a:pt x="271" y="157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6" name="Freeform 97"/>
            <p:cNvSpPr>
              <a:spLocks/>
            </p:cNvSpPr>
            <p:nvPr userDrawn="1"/>
          </p:nvSpPr>
          <p:spPr bwMode="auto">
            <a:xfrm>
              <a:off x="5956300" y="-3586163"/>
              <a:ext cx="57150" cy="228600"/>
            </a:xfrm>
            <a:custGeom>
              <a:avLst/>
              <a:gdLst>
                <a:gd name="T0" fmla="*/ 0 w 36"/>
                <a:gd name="T1" fmla="*/ 144 h 144"/>
                <a:gd name="T2" fmla="*/ 36 w 36"/>
                <a:gd name="T3" fmla="*/ 122 h 144"/>
                <a:gd name="T4" fmla="*/ 36 w 36"/>
                <a:gd name="T5" fmla="*/ 21 h 144"/>
                <a:gd name="T6" fmla="*/ 0 w 36"/>
                <a:gd name="T7" fmla="*/ 0 h 144"/>
                <a:gd name="T8" fmla="*/ 0 w 36"/>
                <a:gd name="T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44">
                  <a:moveTo>
                    <a:pt x="0" y="144"/>
                  </a:moveTo>
                  <a:lnTo>
                    <a:pt x="36" y="122"/>
                  </a:lnTo>
                  <a:lnTo>
                    <a:pt x="36" y="21"/>
                  </a:lnTo>
                  <a:lnTo>
                    <a:pt x="0" y="0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rgbClr val="91A8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7" name="Freeform 98"/>
            <p:cNvSpPr>
              <a:spLocks/>
            </p:cNvSpPr>
            <p:nvPr userDrawn="1"/>
          </p:nvSpPr>
          <p:spPr bwMode="auto">
            <a:xfrm>
              <a:off x="5930900" y="-3598863"/>
              <a:ext cx="25400" cy="255588"/>
            </a:xfrm>
            <a:custGeom>
              <a:avLst/>
              <a:gdLst>
                <a:gd name="T0" fmla="*/ 0 w 16"/>
                <a:gd name="T1" fmla="*/ 161 h 161"/>
                <a:gd name="T2" fmla="*/ 16 w 16"/>
                <a:gd name="T3" fmla="*/ 152 h 161"/>
                <a:gd name="T4" fmla="*/ 16 w 16"/>
                <a:gd name="T5" fmla="*/ 8 h 161"/>
                <a:gd name="T6" fmla="*/ 0 w 16"/>
                <a:gd name="T7" fmla="*/ 0 h 161"/>
                <a:gd name="T8" fmla="*/ 0 w 16"/>
                <a:gd name="T9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1">
                  <a:moveTo>
                    <a:pt x="0" y="161"/>
                  </a:moveTo>
                  <a:lnTo>
                    <a:pt x="16" y="152"/>
                  </a:lnTo>
                  <a:lnTo>
                    <a:pt x="16" y="8"/>
                  </a:lnTo>
                  <a:lnTo>
                    <a:pt x="0" y="0"/>
                  </a:lnTo>
                  <a:lnTo>
                    <a:pt x="0" y="161"/>
                  </a:lnTo>
                  <a:close/>
                </a:path>
              </a:pathLst>
            </a:custGeom>
            <a:solidFill>
              <a:srgbClr val="004B1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8" name="Freeform 99"/>
            <p:cNvSpPr>
              <a:spLocks/>
            </p:cNvSpPr>
            <p:nvPr userDrawn="1"/>
          </p:nvSpPr>
          <p:spPr bwMode="auto">
            <a:xfrm>
              <a:off x="5881688" y="-3629025"/>
              <a:ext cx="49213" cy="314325"/>
            </a:xfrm>
            <a:custGeom>
              <a:avLst/>
              <a:gdLst>
                <a:gd name="T0" fmla="*/ 0 w 31"/>
                <a:gd name="T1" fmla="*/ 198 h 198"/>
                <a:gd name="T2" fmla="*/ 31 w 31"/>
                <a:gd name="T3" fmla="*/ 180 h 198"/>
                <a:gd name="T4" fmla="*/ 31 w 31"/>
                <a:gd name="T5" fmla="*/ 19 h 198"/>
                <a:gd name="T6" fmla="*/ 0 w 31"/>
                <a:gd name="T7" fmla="*/ 0 h 198"/>
                <a:gd name="T8" fmla="*/ 0 w 31"/>
                <a:gd name="T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8">
                  <a:moveTo>
                    <a:pt x="0" y="198"/>
                  </a:moveTo>
                  <a:lnTo>
                    <a:pt x="31" y="180"/>
                  </a:lnTo>
                  <a:lnTo>
                    <a:pt x="31" y="19"/>
                  </a:lnTo>
                  <a:lnTo>
                    <a:pt x="0" y="0"/>
                  </a:lnTo>
                  <a:lnTo>
                    <a:pt x="0" y="198"/>
                  </a:lnTo>
                  <a:close/>
                </a:path>
              </a:pathLst>
            </a:custGeom>
            <a:solidFill>
              <a:srgbClr val="BAD8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9" name="Freeform 100"/>
            <p:cNvSpPr>
              <a:spLocks/>
            </p:cNvSpPr>
            <p:nvPr userDrawn="1"/>
          </p:nvSpPr>
          <p:spPr bwMode="auto">
            <a:xfrm>
              <a:off x="5737225" y="-3632200"/>
              <a:ext cx="144463" cy="320675"/>
            </a:xfrm>
            <a:custGeom>
              <a:avLst/>
              <a:gdLst>
                <a:gd name="T0" fmla="*/ 91 w 91"/>
                <a:gd name="T1" fmla="*/ 2 h 202"/>
                <a:gd name="T2" fmla="*/ 87 w 91"/>
                <a:gd name="T3" fmla="*/ 0 h 202"/>
                <a:gd name="T4" fmla="*/ 0 w 91"/>
                <a:gd name="T5" fmla="*/ 50 h 202"/>
                <a:gd name="T6" fmla="*/ 0 w 91"/>
                <a:gd name="T7" fmla="*/ 151 h 202"/>
                <a:gd name="T8" fmla="*/ 87 w 91"/>
                <a:gd name="T9" fmla="*/ 202 h 202"/>
                <a:gd name="T10" fmla="*/ 91 w 91"/>
                <a:gd name="T11" fmla="*/ 200 h 202"/>
                <a:gd name="T12" fmla="*/ 91 w 91"/>
                <a:gd name="T13" fmla="*/ 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202">
                  <a:moveTo>
                    <a:pt x="91" y="2"/>
                  </a:moveTo>
                  <a:lnTo>
                    <a:pt x="87" y="0"/>
                  </a:lnTo>
                  <a:lnTo>
                    <a:pt x="0" y="50"/>
                  </a:lnTo>
                  <a:lnTo>
                    <a:pt x="0" y="151"/>
                  </a:lnTo>
                  <a:lnTo>
                    <a:pt x="87" y="202"/>
                  </a:lnTo>
                  <a:lnTo>
                    <a:pt x="91" y="200"/>
                  </a:lnTo>
                  <a:lnTo>
                    <a:pt x="91" y="2"/>
                  </a:lnTo>
                  <a:close/>
                </a:path>
              </a:pathLst>
            </a:custGeom>
            <a:solidFill>
              <a:srgbClr val="107C1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0" name="Freeform 129"/>
            <p:cNvSpPr>
              <a:spLocks/>
            </p:cNvSpPr>
            <p:nvPr userDrawn="1"/>
          </p:nvSpPr>
          <p:spPr bwMode="auto">
            <a:xfrm>
              <a:off x="6640513" y="-4192588"/>
              <a:ext cx="1343025" cy="1831975"/>
            </a:xfrm>
            <a:custGeom>
              <a:avLst/>
              <a:gdLst>
                <a:gd name="T0" fmla="*/ 0 w 846"/>
                <a:gd name="T1" fmla="*/ 1154 h 1154"/>
                <a:gd name="T2" fmla="*/ 846 w 846"/>
                <a:gd name="T3" fmla="*/ 660 h 1154"/>
                <a:gd name="T4" fmla="*/ 846 w 846"/>
                <a:gd name="T5" fmla="*/ 0 h 1154"/>
                <a:gd name="T6" fmla="*/ 0 w 846"/>
                <a:gd name="T7" fmla="*/ 494 h 1154"/>
                <a:gd name="T8" fmla="*/ 0 w 846"/>
                <a:gd name="T9" fmla="*/ 1154 h 1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6" h="1154">
                  <a:moveTo>
                    <a:pt x="0" y="1154"/>
                  </a:moveTo>
                  <a:lnTo>
                    <a:pt x="846" y="660"/>
                  </a:lnTo>
                  <a:lnTo>
                    <a:pt x="846" y="0"/>
                  </a:lnTo>
                  <a:lnTo>
                    <a:pt x="0" y="494"/>
                  </a:lnTo>
                  <a:lnTo>
                    <a:pt x="0" y="1154"/>
                  </a:lnTo>
                  <a:close/>
                </a:path>
              </a:pathLst>
            </a:custGeom>
            <a:solidFill>
              <a:srgbClr val="00205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1" name="Freeform 132"/>
            <p:cNvSpPr>
              <a:spLocks/>
            </p:cNvSpPr>
            <p:nvPr userDrawn="1"/>
          </p:nvSpPr>
          <p:spPr bwMode="auto">
            <a:xfrm>
              <a:off x="5299075" y="-3189288"/>
              <a:ext cx="1341438" cy="823913"/>
            </a:xfrm>
            <a:custGeom>
              <a:avLst/>
              <a:gdLst>
                <a:gd name="T0" fmla="*/ 829 w 829"/>
                <a:gd name="T1" fmla="*/ 196 h 509"/>
                <a:gd name="T2" fmla="*/ 829 w 829"/>
                <a:gd name="T3" fmla="*/ 196 h 509"/>
                <a:gd name="T4" fmla="*/ 489 w 829"/>
                <a:gd name="T5" fmla="*/ 0 h 509"/>
                <a:gd name="T6" fmla="*/ 423 w 829"/>
                <a:gd name="T7" fmla="*/ 148 h 509"/>
                <a:gd name="T8" fmla="*/ 102 w 829"/>
                <a:gd name="T9" fmla="*/ 14 h 509"/>
                <a:gd name="T10" fmla="*/ 0 w 829"/>
                <a:gd name="T11" fmla="*/ 26 h 509"/>
                <a:gd name="T12" fmla="*/ 0 w 829"/>
                <a:gd name="T13" fmla="*/ 31 h 509"/>
                <a:gd name="T14" fmla="*/ 829 w 829"/>
                <a:gd name="T15" fmla="*/ 509 h 509"/>
                <a:gd name="T16" fmla="*/ 829 w 829"/>
                <a:gd name="T17" fmla="*/ 509 h 509"/>
                <a:gd name="T18" fmla="*/ 829 w 829"/>
                <a:gd name="T19" fmla="*/ 196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9" h="509">
                  <a:moveTo>
                    <a:pt x="829" y="196"/>
                  </a:moveTo>
                  <a:cubicBezTo>
                    <a:pt x="829" y="196"/>
                    <a:pt x="829" y="196"/>
                    <a:pt x="829" y="196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61" y="46"/>
                    <a:pt x="439" y="96"/>
                    <a:pt x="423" y="148"/>
                  </a:cubicBezTo>
                  <a:cubicBezTo>
                    <a:pt x="341" y="66"/>
                    <a:pt x="229" y="14"/>
                    <a:pt x="102" y="14"/>
                  </a:cubicBezTo>
                  <a:cubicBezTo>
                    <a:pt x="67" y="14"/>
                    <a:pt x="33" y="18"/>
                    <a:pt x="0" y="2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829" y="509"/>
                    <a:pt x="829" y="509"/>
                    <a:pt x="829" y="509"/>
                  </a:cubicBezTo>
                  <a:cubicBezTo>
                    <a:pt x="829" y="509"/>
                    <a:pt x="829" y="509"/>
                    <a:pt x="829" y="509"/>
                  </a:cubicBezTo>
                  <a:lnTo>
                    <a:pt x="829" y="196"/>
                  </a:lnTo>
                  <a:close/>
                </a:path>
              </a:pathLst>
            </a:custGeom>
            <a:solidFill>
              <a:srgbClr val="A0E6F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2" name="Freeform 133"/>
            <p:cNvSpPr>
              <a:spLocks/>
            </p:cNvSpPr>
            <p:nvPr userDrawn="1"/>
          </p:nvSpPr>
          <p:spPr bwMode="auto">
            <a:xfrm>
              <a:off x="6199188" y="-5461000"/>
              <a:ext cx="885825" cy="509588"/>
            </a:xfrm>
            <a:custGeom>
              <a:avLst/>
              <a:gdLst>
                <a:gd name="T0" fmla="*/ 558 w 558"/>
                <a:gd name="T1" fmla="*/ 161 h 321"/>
                <a:gd name="T2" fmla="*/ 278 w 558"/>
                <a:gd name="T3" fmla="*/ 0 h 321"/>
                <a:gd name="T4" fmla="*/ 0 w 558"/>
                <a:gd name="T5" fmla="*/ 160 h 321"/>
                <a:gd name="T6" fmla="*/ 276 w 558"/>
                <a:gd name="T7" fmla="*/ 320 h 321"/>
                <a:gd name="T8" fmla="*/ 278 w 558"/>
                <a:gd name="T9" fmla="*/ 319 h 321"/>
                <a:gd name="T10" fmla="*/ 282 w 558"/>
                <a:gd name="T11" fmla="*/ 321 h 321"/>
                <a:gd name="T12" fmla="*/ 558 w 558"/>
                <a:gd name="T13" fmla="*/ 16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8" h="321">
                  <a:moveTo>
                    <a:pt x="558" y="161"/>
                  </a:moveTo>
                  <a:lnTo>
                    <a:pt x="278" y="0"/>
                  </a:lnTo>
                  <a:lnTo>
                    <a:pt x="0" y="160"/>
                  </a:lnTo>
                  <a:lnTo>
                    <a:pt x="276" y="320"/>
                  </a:lnTo>
                  <a:lnTo>
                    <a:pt x="278" y="319"/>
                  </a:lnTo>
                  <a:lnTo>
                    <a:pt x="282" y="321"/>
                  </a:lnTo>
                  <a:lnTo>
                    <a:pt x="558" y="161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3" name="Freeform 134"/>
            <p:cNvSpPr>
              <a:spLocks/>
            </p:cNvSpPr>
            <p:nvPr userDrawn="1"/>
          </p:nvSpPr>
          <p:spPr bwMode="auto">
            <a:xfrm>
              <a:off x="5299075" y="-6505575"/>
              <a:ext cx="2684463" cy="3097213"/>
            </a:xfrm>
            <a:custGeom>
              <a:avLst/>
              <a:gdLst>
                <a:gd name="T0" fmla="*/ 1691 w 1691"/>
                <a:gd name="T1" fmla="*/ 488 h 1951"/>
                <a:gd name="T2" fmla="*/ 845 w 1691"/>
                <a:gd name="T3" fmla="*/ 0 h 1951"/>
                <a:gd name="T4" fmla="*/ 0 w 1691"/>
                <a:gd name="T5" fmla="*/ 488 h 1951"/>
                <a:gd name="T6" fmla="*/ 0 w 1691"/>
                <a:gd name="T7" fmla="*/ 1463 h 1951"/>
                <a:gd name="T8" fmla="*/ 845 w 1691"/>
                <a:gd name="T9" fmla="*/ 1951 h 1951"/>
                <a:gd name="T10" fmla="*/ 845 w 1691"/>
                <a:gd name="T11" fmla="*/ 1951 h 1951"/>
                <a:gd name="T12" fmla="*/ 845 w 1691"/>
                <a:gd name="T13" fmla="*/ 1632 h 1951"/>
                <a:gd name="T14" fmla="*/ 845 w 1691"/>
                <a:gd name="T15" fmla="*/ 1632 h 1951"/>
                <a:gd name="T16" fmla="*/ 276 w 1691"/>
                <a:gd name="T17" fmla="*/ 1304 h 1951"/>
                <a:gd name="T18" fmla="*/ 276 w 1691"/>
                <a:gd name="T19" fmla="*/ 647 h 1951"/>
                <a:gd name="T20" fmla="*/ 845 w 1691"/>
                <a:gd name="T21" fmla="*/ 319 h 1951"/>
                <a:gd name="T22" fmla="*/ 1414 w 1691"/>
                <a:gd name="T23" fmla="*/ 647 h 1951"/>
                <a:gd name="T24" fmla="*/ 1414 w 1691"/>
                <a:gd name="T25" fmla="*/ 649 h 1951"/>
                <a:gd name="T26" fmla="*/ 845 w 1691"/>
                <a:gd name="T27" fmla="*/ 982 h 1951"/>
                <a:gd name="T28" fmla="*/ 845 w 1691"/>
                <a:gd name="T29" fmla="*/ 1632 h 1951"/>
                <a:gd name="T30" fmla="*/ 1691 w 1691"/>
                <a:gd name="T31" fmla="*/ 1137 h 1951"/>
                <a:gd name="T32" fmla="*/ 1691 w 1691"/>
                <a:gd name="T33" fmla="*/ 488 h 1951"/>
                <a:gd name="T34" fmla="*/ 1691 w 1691"/>
                <a:gd name="T35" fmla="*/ 488 h 19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91" h="1951">
                  <a:moveTo>
                    <a:pt x="1691" y="488"/>
                  </a:moveTo>
                  <a:lnTo>
                    <a:pt x="845" y="0"/>
                  </a:lnTo>
                  <a:lnTo>
                    <a:pt x="0" y="488"/>
                  </a:lnTo>
                  <a:lnTo>
                    <a:pt x="0" y="1463"/>
                  </a:lnTo>
                  <a:lnTo>
                    <a:pt x="845" y="1951"/>
                  </a:lnTo>
                  <a:lnTo>
                    <a:pt x="845" y="1951"/>
                  </a:lnTo>
                  <a:lnTo>
                    <a:pt x="845" y="1632"/>
                  </a:lnTo>
                  <a:lnTo>
                    <a:pt x="845" y="1632"/>
                  </a:lnTo>
                  <a:lnTo>
                    <a:pt x="276" y="1304"/>
                  </a:lnTo>
                  <a:lnTo>
                    <a:pt x="276" y="647"/>
                  </a:lnTo>
                  <a:lnTo>
                    <a:pt x="845" y="319"/>
                  </a:lnTo>
                  <a:lnTo>
                    <a:pt x="1414" y="647"/>
                  </a:lnTo>
                  <a:lnTo>
                    <a:pt x="1414" y="649"/>
                  </a:lnTo>
                  <a:lnTo>
                    <a:pt x="845" y="982"/>
                  </a:lnTo>
                  <a:lnTo>
                    <a:pt x="845" y="1632"/>
                  </a:lnTo>
                  <a:lnTo>
                    <a:pt x="1691" y="1137"/>
                  </a:lnTo>
                  <a:lnTo>
                    <a:pt x="1691" y="488"/>
                  </a:lnTo>
                  <a:lnTo>
                    <a:pt x="1691" y="488"/>
                  </a:lnTo>
                  <a:close/>
                </a:path>
              </a:pathLst>
            </a:custGeom>
            <a:solidFill>
              <a:srgbClr val="00205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4" name="Freeform 135"/>
            <p:cNvSpPr>
              <a:spLocks/>
            </p:cNvSpPr>
            <p:nvPr userDrawn="1"/>
          </p:nvSpPr>
          <p:spPr bwMode="auto">
            <a:xfrm>
              <a:off x="6640513" y="-4712993"/>
              <a:ext cx="1343025" cy="1304630"/>
            </a:xfrm>
            <a:custGeom>
              <a:avLst/>
              <a:gdLst>
                <a:gd name="T0" fmla="*/ 0 w 846"/>
                <a:gd name="T1" fmla="*/ 814 h 814"/>
                <a:gd name="T2" fmla="*/ 0 w 846"/>
                <a:gd name="T3" fmla="*/ 814 h 814"/>
                <a:gd name="T4" fmla="*/ 846 w 846"/>
                <a:gd name="T5" fmla="*/ 326 h 814"/>
                <a:gd name="T6" fmla="*/ 846 w 846"/>
                <a:gd name="T7" fmla="*/ 0 h 814"/>
                <a:gd name="T8" fmla="*/ 0 w 846"/>
                <a:gd name="T9" fmla="*/ 495 h 814"/>
                <a:gd name="T10" fmla="*/ 0 w 846"/>
                <a:gd name="T11" fmla="*/ 814 h 814"/>
                <a:gd name="connsiteX0" fmla="*/ 0 w 10000"/>
                <a:gd name="connsiteY0" fmla="*/ 10096 h 10096"/>
                <a:gd name="connsiteX1" fmla="*/ 0 w 10000"/>
                <a:gd name="connsiteY1" fmla="*/ 10096 h 10096"/>
                <a:gd name="connsiteX2" fmla="*/ 10000 w 10000"/>
                <a:gd name="connsiteY2" fmla="*/ 4101 h 10096"/>
                <a:gd name="connsiteX3" fmla="*/ 10000 w 10000"/>
                <a:gd name="connsiteY3" fmla="*/ 0 h 10096"/>
                <a:gd name="connsiteX4" fmla="*/ 0 w 10000"/>
                <a:gd name="connsiteY4" fmla="*/ 6177 h 10096"/>
                <a:gd name="connsiteX5" fmla="*/ 0 w 10000"/>
                <a:gd name="connsiteY5" fmla="*/ 10096 h 1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00" h="10096">
                  <a:moveTo>
                    <a:pt x="0" y="10096"/>
                  </a:moveTo>
                  <a:lnTo>
                    <a:pt x="0" y="10096"/>
                  </a:lnTo>
                  <a:lnTo>
                    <a:pt x="10000" y="4101"/>
                  </a:lnTo>
                  <a:lnTo>
                    <a:pt x="10000" y="0"/>
                  </a:lnTo>
                  <a:lnTo>
                    <a:pt x="0" y="6177"/>
                  </a:lnTo>
                  <a:lnTo>
                    <a:pt x="0" y="10096"/>
                  </a:lnTo>
                  <a:close/>
                </a:path>
              </a:pathLst>
            </a:custGeom>
            <a:solidFill>
              <a:srgbClr val="7B7B7B"/>
            </a:solidFill>
            <a:ln w="9525">
              <a:solidFill>
                <a:srgbClr val="7B7B7B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5" name="Freeform 144"/>
            <p:cNvSpPr>
              <a:spLocks/>
            </p:cNvSpPr>
            <p:nvPr userDrawn="1"/>
          </p:nvSpPr>
          <p:spPr bwMode="auto">
            <a:xfrm>
              <a:off x="6091238" y="-3529013"/>
              <a:ext cx="549275" cy="657225"/>
            </a:xfrm>
            <a:custGeom>
              <a:avLst/>
              <a:gdLst>
                <a:gd name="T0" fmla="*/ 339 w 339"/>
                <a:gd name="T1" fmla="*/ 407 h 407"/>
                <a:gd name="T2" fmla="*/ 339 w 339"/>
                <a:gd name="T3" fmla="*/ 75 h 407"/>
                <a:gd name="T4" fmla="*/ 339 w 339"/>
                <a:gd name="T5" fmla="*/ 75 h 407"/>
                <a:gd name="T6" fmla="*/ 210 w 339"/>
                <a:gd name="T7" fmla="*/ 0 h 407"/>
                <a:gd name="T8" fmla="*/ 0 w 339"/>
                <a:gd name="T9" fmla="*/ 212 h 407"/>
                <a:gd name="T10" fmla="*/ 339 w 339"/>
                <a:gd name="T11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9" h="407">
                  <a:moveTo>
                    <a:pt x="339" y="407"/>
                  </a:moveTo>
                  <a:cubicBezTo>
                    <a:pt x="339" y="75"/>
                    <a:pt x="339" y="75"/>
                    <a:pt x="339" y="75"/>
                  </a:cubicBezTo>
                  <a:cubicBezTo>
                    <a:pt x="339" y="75"/>
                    <a:pt x="339" y="75"/>
                    <a:pt x="339" y="75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111" y="61"/>
                    <a:pt x="18" y="187"/>
                    <a:pt x="0" y="212"/>
                  </a:cubicBezTo>
                  <a:cubicBezTo>
                    <a:pt x="339" y="407"/>
                    <a:pt x="339" y="407"/>
                    <a:pt x="339" y="40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6" name="Freeform 145"/>
            <p:cNvSpPr>
              <a:spLocks/>
            </p:cNvSpPr>
            <p:nvPr userDrawn="1"/>
          </p:nvSpPr>
          <p:spPr bwMode="auto">
            <a:xfrm>
              <a:off x="6083300" y="-3189288"/>
              <a:ext cx="7938" cy="11113"/>
            </a:xfrm>
            <a:custGeom>
              <a:avLst/>
              <a:gdLst>
                <a:gd name="T0" fmla="*/ 5 w 5"/>
                <a:gd name="T1" fmla="*/ 1 h 6"/>
                <a:gd name="T2" fmla="*/ 4 w 5"/>
                <a:gd name="T3" fmla="*/ 0 h 6"/>
                <a:gd name="T4" fmla="*/ 5 w 5"/>
                <a:gd name="T5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6">
                  <a:moveTo>
                    <a:pt x="5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6"/>
                    <a:pt x="1" y="6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7" name="Freeform 146"/>
            <p:cNvSpPr>
              <a:spLocks/>
            </p:cNvSpPr>
            <p:nvPr userDrawn="1"/>
          </p:nvSpPr>
          <p:spPr bwMode="auto">
            <a:xfrm>
              <a:off x="3657600" y="-3146425"/>
              <a:ext cx="4872038" cy="1436688"/>
            </a:xfrm>
            <a:custGeom>
              <a:avLst/>
              <a:gdLst>
                <a:gd name="T0" fmla="*/ 2686 w 3008"/>
                <a:gd name="T1" fmla="*/ 249 h 888"/>
                <a:gd name="T2" fmla="*/ 2634 w 3008"/>
                <a:gd name="T3" fmla="*/ 249 h 888"/>
                <a:gd name="T4" fmla="*/ 2590 w 3008"/>
                <a:gd name="T5" fmla="*/ 49 h 888"/>
                <a:gd name="T6" fmla="*/ 1842 w 3008"/>
                <a:gd name="T7" fmla="*/ 486 h 888"/>
                <a:gd name="T8" fmla="*/ 1842 w 3008"/>
                <a:gd name="T9" fmla="*/ 483 h 888"/>
                <a:gd name="T10" fmla="*/ 1842 w 3008"/>
                <a:gd name="T11" fmla="*/ 483 h 888"/>
                <a:gd name="T12" fmla="*/ 1013 w 3008"/>
                <a:gd name="T13" fmla="*/ 5 h 888"/>
                <a:gd name="T14" fmla="*/ 1013 w 3008"/>
                <a:gd name="T15" fmla="*/ 0 h 888"/>
                <a:gd name="T16" fmla="*/ 1012 w 3008"/>
                <a:gd name="T17" fmla="*/ 0 h 888"/>
                <a:gd name="T18" fmla="*/ 666 w 3008"/>
                <a:gd name="T19" fmla="*/ 397 h 888"/>
                <a:gd name="T20" fmla="*/ 456 w 3008"/>
                <a:gd name="T21" fmla="*/ 494 h 888"/>
                <a:gd name="T22" fmla="*/ 254 w 3008"/>
                <a:gd name="T23" fmla="*/ 390 h 888"/>
                <a:gd name="T24" fmla="*/ 0 w 3008"/>
                <a:gd name="T25" fmla="*/ 635 h 888"/>
                <a:gd name="T26" fmla="*/ 254 w 3008"/>
                <a:gd name="T27" fmla="*/ 888 h 888"/>
                <a:gd name="T28" fmla="*/ 321 w 3008"/>
                <a:gd name="T29" fmla="*/ 888 h 888"/>
                <a:gd name="T30" fmla="*/ 1145 w 3008"/>
                <a:gd name="T31" fmla="*/ 888 h 888"/>
                <a:gd name="T32" fmla="*/ 1601 w 3008"/>
                <a:gd name="T33" fmla="*/ 888 h 888"/>
                <a:gd name="T34" fmla="*/ 2709 w 3008"/>
                <a:gd name="T35" fmla="*/ 888 h 888"/>
                <a:gd name="T36" fmla="*/ 3008 w 3008"/>
                <a:gd name="T37" fmla="*/ 568 h 888"/>
                <a:gd name="T38" fmla="*/ 2686 w 3008"/>
                <a:gd name="T39" fmla="*/ 249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08" h="888">
                  <a:moveTo>
                    <a:pt x="2686" y="249"/>
                  </a:moveTo>
                  <a:cubicBezTo>
                    <a:pt x="2671" y="249"/>
                    <a:pt x="2656" y="249"/>
                    <a:pt x="2634" y="249"/>
                  </a:cubicBezTo>
                  <a:cubicBezTo>
                    <a:pt x="2631" y="178"/>
                    <a:pt x="2615" y="111"/>
                    <a:pt x="2590" y="49"/>
                  </a:cubicBezTo>
                  <a:cubicBezTo>
                    <a:pt x="1842" y="486"/>
                    <a:pt x="1842" y="486"/>
                    <a:pt x="1842" y="486"/>
                  </a:cubicBezTo>
                  <a:cubicBezTo>
                    <a:pt x="1842" y="483"/>
                    <a:pt x="1842" y="483"/>
                    <a:pt x="1842" y="483"/>
                  </a:cubicBezTo>
                  <a:cubicBezTo>
                    <a:pt x="1842" y="483"/>
                    <a:pt x="1842" y="483"/>
                    <a:pt x="1842" y="483"/>
                  </a:cubicBezTo>
                  <a:cubicBezTo>
                    <a:pt x="1013" y="5"/>
                    <a:pt x="1013" y="5"/>
                    <a:pt x="1013" y="5"/>
                  </a:cubicBezTo>
                  <a:cubicBezTo>
                    <a:pt x="1013" y="0"/>
                    <a:pt x="1013" y="0"/>
                    <a:pt x="1013" y="0"/>
                  </a:cubicBezTo>
                  <a:cubicBezTo>
                    <a:pt x="1012" y="0"/>
                    <a:pt x="1012" y="0"/>
                    <a:pt x="1012" y="0"/>
                  </a:cubicBezTo>
                  <a:cubicBezTo>
                    <a:pt x="827" y="44"/>
                    <a:pt x="685" y="202"/>
                    <a:pt x="666" y="397"/>
                  </a:cubicBezTo>
                  <a:cubicBezTo>
                    <a:pt x="591" y="405"/>
                    <a:pt x="516" y="442"/>
                    <a:pt x="456" y="494"/>
                  </a:cubicBezTo>
                  <a:cubicBezTo>
                    <a:pt x="411" y="427"/>
                    <a:pt x="336" y="390"/>
                    <a:pt x="254" y="390"/>
                  </a:cubicBezTo>
                  <a:cubicBezTo>
                    <a:pt x="112" y="390"/>
                    <a:pt x="0" y="501"/>
                    <a:pt x="0" y="635"/>
                  </a:cubicBezTo>
                  <a:cubicBezTo>
                    <a:pt x="0" y="776"/>
                    <a:pt x="112" y="888"/>
                    <a:pt x="254" y="888"/>
                  </a:cubicBezTo>
                  <a:cubicBezTo>
                    <a:pt x="321" y="888"/>
                    <a:pt x="321" y="888"/>
                    <a:pt x="321" y="888"/>
                  </a:cubicBezTo>
                  <a:cubicBezTo>
                    <a:pt x="1145" y="888"/>
                    <a:pt x="1145" y="888"/>
                    <a:pt x="1145" y="888"/>
                  </a:cubicBezTo>
                  <a:cubicBezTo>
                    <a:pt x="1601" y="888"/>
                    <a:pt x="1601" y="888"/>
                    <a:pt x="1601" y="888"/>
                  </a:cubicBezTo>
                  <a:cubicBezTo>
                    <a:pt x="2709" y="888"/>
                    <a:pt x="2709" y="888"/>
                    <a:pt x="2709" y="888"/>
                  </a:cubicBezTo>
                  <a:cubicBezTo>
                    <a:pt x="2873" y="873"/>
                    <a:pt x="3008" y="739"/>
                    <a:pt x="3008" y="568"/>
                  </a:cubicBezTo>
                  <a:cubicBezTo>
                    <a:pt x="3008" y="390"/>
                    <a:pt x="2866" y="249"/>
                    <a:pt x="2686" y="24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148" name="Group 147"/>
          <p:cNvGrpSpPr/>
          <p:nvPr userDrawn="1"/>
        </p:nvGrpSpPr>
        <p:grpSpPr>
          <a:xfrm>
            <a:off x="8070936" y="6101534"/>
            <a:ext cx="445100" cy="689535"/>
            <a:chOff x="7259638" y="4756151"/>
            <a:chExt cx="454025" cy="703262"/>
          </a:xfrm>
        </p:grpSpPr>
        <p:sp>
          <p:nvSpPr>
            <p:cNvPr id="149" name="Freeform 10"/>
            <p:cNvSpPr>
              <a:spLocks/>
            </p:cNvSpPr>
            <p:nvPr userDrawn="1"/>
          </p:nvSpPr>
          <p:spPr bwMode="auto">
            <a:xfrm>
              <a:off x="7410450" y="4933951"/>
              <a:ext cx="152400" cy="87313"/>
            </a:xfrm>
            <a:custGeom>
              <a:avLst/>
              <a:gdLst>
                <a:gd name="T0" fmla="*/ 96 w 96"/>
                <a:gd name="T1" fmla="*/ 27 h 55"/>
                <a:gd name="T2" fmla="*/ 47 w 96"/>
                <a:gd name="T3" fmla="*/ 0 h 55"/>
                <a:gd name="T4" fmla="*/ 0 w 96"/>
                <a:gd name="T5" fmla="*/ 27 h 55"/>
                <a:gd name="T6" fmla="*/ 48 w 96"/>
                <a:gd name="T7" fmla="*/ 55 h 55"/>
                <a:gd name="T8" fmla="*/ 96 w 96"/>
                <a:gd name="T9" fmla="*/ 2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55">
                  <a:moveTo>
                    <a:pt x="96" y="27"/>
                  </a:moveTo>
                  <a:lnTo>
                    <a:pt x="47" y="0"/>
                  </a:lnTo>
                  <a:lnTo>
                    <a:pt x="0" y="27"/>
                  </a:lnTo>
                  <a:lnTo>
                    <a:pt x="48" y="55"/>
                  </a:lnTo>
                  <a:lnTo>
                    <a:pt x="96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0" name="Freeform 11"/>
            <p:cNvSpPr>
              <a:spLocks/>
            </p:cNvSpPr>
            <p:nvPr userDrawn="1"/>
          </p:nvSpPr>
          <p:spPr bwMode="auto">
            <a:xfrm>
              <a:off x="7486650" y="4887913"/>
              <a:ext cx="227013" cy="307975"/>
            </a:xfrm>
            <a:custGeom>
              <a:avLst/>
              <a:gdLst>
                <a:gd name="T0" fmla="*/ 0 w 143"/>
                <a:gd name="T1" fmla="*/ 194 h 194"/>
                <a:gd name="T2" fmla="*/ 143 w 143"/>
                <a:gd name="T3" fmla="*/ 110 h 194"/>
                <a:gd name="T4" fmla="*/ 143 w 143"/>
                <a:gd name="T5" fmla="*/ 0 h 194"/>
                <a:gd name="T6" fmla="*/ 0 w 143"/>
                <a:gd name="T7" fmla="*/ 84 h 194"/>
                <a:gd name="T8" fmla="*/ 0 w 143"/>
                <a:gd name="T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94">
                  <a:moveTo>
                    <a:pt x="0" y="194"/>
                  </a:moveTo>
                  <a:lnTo>
                    <a:pt x="143" y="110"/>
                  </a:lnTo>
                  <a:lnTo>
                    <a:pt x="143" y="0"/>
                  </a:lnTo>
                  <a:lnTo>
                    <a:pt x="0" y="8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1" name="Freeform 12"/>
            <p:cNvSpPr>
              <a:spLocks/>
            </p:cNvSpPr>
            <p:nvPr userDrawn="1"/>
          </p:nvSpPr>
          <p:spPr bwMode="auto">
            <a:xfrm>
              <a:off x="7332663" y="4930776"/>
              <a:ext cx="153988" cy="266700"/>
            </a:xfrm>
            <a:custGeom>
              <a:avLst/>
              <a:gdLst>
                <a:gd name="T0" fmla="*/ 97 w 97"/>
                <a:gd name="T1" fmla="*/ 168 h 168"/>
                <a:gd name="T2" fmla="*/ 0 w 97"/>
                <a:gd name="T3" fmla="*/ 112 h 168"/>
                <a:gd name="T4" fmla="*/ 0 w 97"/>
                <a:gd name="T5" fmla="*/ 0 h 168"/>
                <a:gd name="T6" fmla="*/ 97 w 97"/>
                <a:gd name="T7" fmla="*/ 57 h 168"/>
                <a:gd name="T8" fmla="*/ 97 w 97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68">
                  <a:moveTo>
                    <a:pt x="97" y="168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97" y="57"/>
                  </a:lnTo>
                  <a:lnTo>
                    <a:pt x="97" y="168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2" name="Freeform 13"/>
            <p:cNvSpPr>
              <a:spLocks/>
            </p:cNvSpPr>
            <p:nvPr userDrawn="1"/>
          </p:nvSpPr>
          <p:spPr bwMode="auto">
            <a:xfrm>
              <a:off x="7259638" y="5149851"/>
              <a:ext cx="133350" cy="209550"/>
            </a:xfrm>
            <a:custGeom>
              <a:avLst/>
              <a:gdLst>
                <a:gd name="T0" fmla="*/ 45 w 82"/>
                <a:gd name="T1" fmla="*/ 27 h 130"/>
                <a:gd name="T2" fmla="*/ 0 w 82"/>
                <a:gd name="T3" fmla="*/ 0 h 130"/>
                <a:gd name="T4" fmla="*/ 0 w 82"/>
                <a:gd name="T5" fmla="*/ 109 h 130"/>
                <a:gd name="T6" fmla="*/ 17 w 82"/>
                <a:gd name="T7" fmla="*/ 107 h 130"/>
                <a:gd name="T8" fmla="*/ 71 w 82"/>
                <a:gd name="T9" fmla="*/ 130 h 130"/>
                <a:gd name="T10" fmla="*/ 82 w 82"/>
                <a:gd name="T11" fmla="*/ 105 h 130"/>
                <a:gd name="T12" fmla="*/ 45 w 82"/>
                <a:gd name="T13" fmla="*/ 83 h 130"/>
                <a:gd name="T14" fmla="*/ 45 w 82"/>
                <a:gd name="T15" fmla="*/ 27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0">
                  <a:moveTo>
                    <a:pt x="45" y="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5" y="108"/>
                    <a:pt x="11" y="107"/>
                    <a:pt x="17" y="107"/>
                  </a:cubicBezTo>
                  <a:cubicBezTo>
                    <a:pt x="38" y="107"/>
                    <a:pt x="57" y="116"/>
                    <a:pt x="71" y="130"/>
                  </a:cubicBezTo>
                  <a:cubicBezTo>
                    <a:pt x="74" y="121"/>
                    <a:pt x="78" y="112"/>
                    <a:pt x="82" y="105"/>
                  </a:cubicBezTo>
                  <a:cubicBezTo>
                    <a:pt x="45" y="83"/>
                    <a:pt x="45" y="83"/>
                    <a:pt x="45" y="83"/>
                  </a:cubicBezTo>
                  <a:lnTo>
                    <a:pt x="45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3" name="Freeform 14"/>
            <p:cNvSpPr>
              <a:spLocks/>
            </p:cNvSpPr>
            <p:nvPr userDrawn="1"/>
          </p:nvSpPr>
          <p:spPr bwMode="auto">
            <a:xfrm>
              <a:off x="7486650" y="5062538"/>
              <a:ext cx="227013" cy="217488"/>
            </a:xfrm>
            <a:custGeom>
              <a:avLst/>
              <a:gdLst>
                <a:gd name="T0" fmla="*/ 0 w 143"/>
                <a:gd name="T1" fmla="*/ 137 h 137"/>
                <a:gd name="T2" fmla="*/ 143 w 143"/>
                <a:gd name="T3" fmla="*/ 55 h 137"/>
                <a:gd name="T4" fmla="*/ 143 w 143"/>
                <a:gd name="T5" fmla="*/ 0 h 137"/>
                <a:gd name="T6" fmla="*/ 0 w 143"/>
                <a:gd name="T7" fmla="*/ 85 h 137"/>
                <a:gd name="T8" fmla="*/ 0 w 143"/>
                <a:gd name="T9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37">
                  <a:moveTo>
                    <a:pt x="0" y="137"/>
                  </a:moveTo>
                  <a:lnTo>
                    <a:pt x="143" y="55"/>
                  </a:lnTo>
                  <a:lnTo>
                    <a:pt x="143" y="0"/>
                  </a:lnTo>
                  <a:lnTo>
                    <a:pt x="0" y="85"/>
                  </a:lnTo>
                  <a:lnTo>
                    <a:pt x="0" y="137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4" name="Freeform 15"/>
            <p:cNvSpPr>
              <a:spLocks/>
            </p:cNvSpPr>
            <p:nvPr userDrawn="1"/>
          </p:nvSpPr>
          <p:spPr bwMode="auto">
            <a:xfrm>
              <a:off x="7486650" y="5148263"/>
              <a:ext cx="227013" cy="311150"/>
            </a:xfrm>
            <a:custGeom>
              <a:avLst/>
              <a:gdLst>
                <a:gd name="T0" fmla="*/ 0 w 143"/>
                <a:gd name="T1" fmla="*/ 196 h 196"/>
                <a:gd name="T2" fmla="*/ 143 w 143"/>
                <a:gd name="T3" fmla="*/ 112 h 196"/>
                <a:gd name="T4" fmla="*/ 143 w 143"/>
                <a:gd name="T5" fmla="*/ 0 h 196"/>
                <a:gd name="T6" fmla="*/ 0 w 143"/>
                <a:gd name="T7" fmla="*/ 83 h 196"/>
                <a:gd name="T8" fmla="*/ 0 w 143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96">
                  <a:moveTo>
                    <a:pt x="0" y="196"/>
                  </a:moveTo>
                  <a:lnTo>
                    <a:pt x="143" y="112"/>
                  </a:lnTo>
                  <a:lnTo>
                    <a:pt x="143" y="0"/>
                  </a:lnTo>
                  <a:lnTo>
                    <a:pt x="0" y="83"/>
                  </a:lnTo>
                  <a:lnTo>
                    <a:pt x="0" y="19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5" name="Freeform 16"/>
            <p:cNvSpPr>
              <a:spLocks/>
            </p:cNvSpPr>
            <p:nvPr userDrawn="1"/>
          </p:nvSpPr>
          <p:spPr bwMode="auto">
            <a:xfrm>
              <a:off x="7259638" y="5319713"/>
              <a:ext cx="227013" cy="139700"/>
            </a:xfrm>
            <a:custGeom>
              <a:avLst/>
              <a:gdLst>
                <a:gd name="T0" fmla="*/ 140 w 140"/>
                <a:gd name="T1" fmla="*/ 33 h 86"/>
                <a:gd name="T2" fmla="*/ 140 w 140"/>
                <a:gd name="T3" fmla="*/ 33 h 86"/>
                <a:gd name="T4" fmla="*/ 82 w 140"/>
                <a:gd name="T5" fmla="*/ 0 h 86"/>
                <a:gd name="T6" fmla="*/ 71 w 140"/>
                <a:gd name="T7" fmla="*/ 25 h 86"/>
                <a:gd name="T8" fmla="*/ 17 w 140"/>
                <a:gd name="T9" fmla="*/ 2 h 86"/>
                <a:gd name="T10" fmla="*/ 0 w 140"/>
                <a:gd name="T11" fmla="*/ 4 h 86"/>
                <a:gd name="T12" fmla="*/ 0 w 140"/>
                <a:gd name="T13" fmla="*/ 5 h 86"/>
                <a:gd name="T14" fmla="*/ 140 w 140"/>
                <a:gd name="T15" fmla="*/ 86 h 86"/>
                <a:gd name="T16" fmla="*/ 140 w 140"/>
                <a:gd name="T17" fmla="*/ 86 h 86"/>
                <a:gd name="T18" fmla="*/ 140 w 140"/>
                <a:gd name="T19" fmla="*/ 3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0" h="86">
                  <a:moveTo>
                    <a:pt x="140" y="33"/>
                  </a:moveTo>
                  <a:cubicBezTo>
                    <a:pt x="140" y="33"/>
                    <a:pt x="140" y="33"/>
                    <a:pt x="140" y="3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8" y="7"/>
                    <a:pt x="74" y="16"/>
                    <a:pt x="71" y="25"/>
                  </a:cubicBezTo>
                  <a:cubicBezTo>
                    <a:pt x="57" y="11"/>
                    <a:pt x="38" y="2"/>
                    <a:pt x="17" y="2"/>
                  </a:cubicBezTo>
                  <a:cubicBezTo>
                    <a:pt x="11" y="2"/>
                    <a:pt x="5" y="3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0" y="86"/>
                    <a:pt x="140" y="86"/>
                    <a:pt x="140" y="86"/>
                  </a:cubicBezTo>
                  <a:cubicBezTo>
                    <a:pt x="140" y="86"/>
                    <a:pt x="140" y="86"/>
                    <a:pt x="140" y="86"/>
                  </a:cubicBezTo>
                  <a:lnTo>
                    <a:pt x="140" y="33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6" name="Freeform 17"/>
            <p:cNvSpPr>
              <a:spLocks/>
            </p:cNvSpPr>
            <p:nvPr userDrawn="1"/>
          </p:nvSpPr>
          <p:spPr bwMode="auto">
            <a:xfrm>
              <a:off x="7259638" y="4756151"/>
              <a:ext cx="454025" cy="523875"/>
            </a:xfrm>
            <a:custGeom>
              <a:avLst/>
              <a:gdLst>
                <a:gd name="T0" fmla="*/ 143 w 286"/>
                <a:gd name="T1" fmla="*/ 277 h 330"/>
                <a:gd name="T2" fmla="*/ 143 w 286"/>
                <a:gd name="T3" fmla="*/ 277 h 330"/>
                <a:gd name="T4" fmla="*/ 46 w 286"/>
                <a:gd name="T5" fmla="*/ 222 h 330"/>
                <a:gd name="T6" fmla="*/ 46 w 286"/>
                <a:gd name="T7" fmla="*/ 110 h 330"/>
                <a:gd name="T8" fmla="*/ 143 w 286"/>
                <a:gd name="T9" fmla="*/ 54 h 330"/>
                <a:gd name="T10" fmla="*/ 239 w 286"/>
                <a:gd name="T11" fmla="*/ 110 h 330"/>
                <a:gd name="T12" fmla="*/ 239 w 286"/>
                <a:gd name="T13" fmla="*/ 110 h 330"/>
                <a:gd name="T14" fmla="*/ 286 w 286"/>
                <a:gd name="T15" fmla="*/ 83 h 330"/>
                <a:gd name="T16" fmla="*/ 143 w 286"/>
                <a:gd name="T17" fmla="*/ 0 h 330"/>
                <a:gd name="T18" fmla="*/ 0 w 286"/>
                <a:gd name="T19" fmla="*/ 83 h 330"/>
                <a:gd name="T20" fmla="*/ 0 w 286"/>
                <a:gd name="T21" fmla="*/ 248 h 330"/>
                <a:gd name="T22" fmla="*/ 143 w 286"/>
                <a:gd name="T23" fmla="*/ 330 h 330"/>
                <a:gd name="T24" fmla="*/ 143 w 286"/>
                <a:gd name="T25" fmla="*/ 330 h 330"/>
                <a:gd name="T26" fmla="*/ 143 w 286"/>
                <a:gd name="T27" fmla="*/ 27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6" h="330">
                  <a:moveTo>
                    <a:pt x="143" y="277"/>
                  </a:moveTo>
                  <a:lnTo>
                    <a:pt x="143" y="277"/>
                  </a:lnTo>
                  <a:lnTo>
                    <a:pt x="46" y="222"/>
                  </a:lnTo>
                  <a:lnTo>
                    <a:pt x="46" y="110"/>
                  </a:lnTo>
                  <a:lnTo>
                    <a:pt x="143" y="54"/>
                  </a:lnTo>
                  <a:lnTo>
                    <a:pt x="239" y="110"/>
                  </a:lnTo>
                  <a:lnTo>
                    <a:pt x="239" y="110"/>
                  </a:lnTo>
                  <a:lnTo>
                    <a:pt x="286" y="83"/>
                  </a:lnTo>
                  <a:lnTo>
                    <a:pt x="143" y="0"/>
                  </a:lnTo>
                  <a:lnTo>
                    <a:pt x="0" y="83"/>
                  </a:lnTo>
                  <a:lnTo>
                    <a:pt x="0" y="248"/>
                  </a:lnTo>
                  <a:lnTo>
                    <a:pt x="143" y="330"/>
                  </a:lnTo>
                  <a:lnTo>
                    <a:pt x="143" y="330"/>
                  </a:lnTo>
                  <a:lnTo>
                    <a:pt x="143" y="277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397099351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42" presetClass="pat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4.5928E-6 -1.32547E-6 L 0.06932 0.00023 " pathEditMode="relative" rAng="0" ptsTypes="AA">
                                      <p:cBhvr>
                                        <p:cTn id="17" dur="1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59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9599E-6 -8.17068E-7 L 0.06931 0.00023 " pathEditMode="relative" rAng="0" ptsTypes="AA">
                                      <p:cBhvr>
                                        <p:cTn id="19" dur="12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59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accel="50000" decel="5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3.2193E-6 -4.82524E-6 L -0.10326 -4.82524E-6 " pathEditMode="relative" rAng="0" ptsTypes="AA">
                                      <p:cBhvr>
                                        <p:cTn id="24" dur="125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170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99132E-7 -9.30549E-7 L -0.00064 -0.20608 " pathEditMode="relative" rAng="0" ptsTypes="AA">
                                      <p:cBhvr>
                                        <p:cTn id="29" dur="75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-1030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4238E-8 -4.74353E-6 L -0.00064 -0.20608 " pathEditMode="relative" rAng="0" ptsTypes="AA">
                                      <p:cBhvr>
                                        <p:cTn id="34" dur="75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-1030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-7.1228E-7 -4.95234E-6 L 0.00498 -0.21402 " pathEditMode="relative" rAng="0" ptsTypes="AA">
                                      <p:cBhvr>
                                        <p:cTn id="39" dur="75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3" y="-1071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1" grpId="0" animBg="1"/>
      <p:bldP spid="101" grpId="1" animBg="1"/>
    </p:bld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lki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9811959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2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0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1" spc="-98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invGray">
          <a:xfrm>
            <a:off x="449820" y="471738"/>
            <a:ext cx="2135184" cy="456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0293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2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0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1" spc="-98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9820" y="471124"/>
            <a:ext cx="2134206" cy="457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76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68110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3770231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1" y="1189178"/>
            <a:ext cx="5826760" cy="168110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3133334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68110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2287810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36865440"/>
      </p:ext>
    </p:extLst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1647952"/>
          </a:xfrm>
        </p:spPr>
        <p:txBody>
          <a:bodyPr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0038354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1647952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70688972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180184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80184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8250674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180184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80184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0599706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1868204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528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868204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528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3882939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1868204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868204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2299551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5202289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27701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Sub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56129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45">
                <a:solidFill>
                  <a:schemeClr val="tx2"/>
                </a:solidFill>
              </a:defRPr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4315539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| Sub  -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1" y="289512"/>
            <a:ext cx="6125968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9241" y="1803528"/>
            <a:ext cx="6125568" cy="56129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45">
                <a:solidFill>
                  <a:schemeClr val="tx2"/>
                </a:solidFill>
              </a:defRPr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6545770" y="0"/>
            <a:ext cx="564623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596420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579481"/>
      </p:ext>
    </p:extLst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Sub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7683" y="1710608"/>
            <a:ext cx="11877629" cy="1644641"/>
          </a:xfrm>
        </p:spPr>
        <p:txBody>
          <a:bodyPr/>
          <a:lstStyle>
            <a:lvl1pPr marL="0" indent="0">
              <a:buNone/>
              <a:defRPr/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56129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45">
                <a:solidFill>
                  <a:schemeClr val="tx2"/>
                </a:solidFill>
              </a:defRPr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1358232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7788617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09460"/>
            <a:ext cx="9859116" cy="1874884"/>
          </a:xfrm>
          <a:noFill/>
        </p:spPr>
        <p:txBody>
          <a:bodyPr tIns="91440" bIns="91440" anchor="t" anchorCtr="0"/>
          <a:lstStyle>
            <a:lvl1pPr>
              <a:defRPr sz="7056" spc="-98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8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3" name="Rectangle 2"/>
          <p:cNvSpPr/>
          <p:nvPr/>
        </p:nvSpPr>
        <p:spPr>
          <a:xfrm>
            <a:off x="448213" y="291069"/>
            <a:ext cx="1563248" cy="7077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920" b="1">
                <a:solidFill>
                  <a:schemeClr val="bg1"/>
                </a:solidFill>
              </a:rPr>
              <a:t>demo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320106" y="1337045"/>
            <a:ext cx="362136" cy="622056"/>
          </a:xfrm>
          <a:prstGeom prst="rect">
            <a:avLst/>
          </a:prstGeom>
          <a:noFill/>
        </p:spPr>
        <p:txBody>
          <a:bodyPr wrap="none" lIns="179259" tIns="143407" rIns="179259" bIns="143407" rtlCol="0">
            <a:spAutoFit/>
          </a:bodyPr>
          <a:lstStyle/>
          <a:p>
            <a:pPr marL="0" marR="0" lvl="0" indent="0" defTabSz="896214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gradFill>
                <a:gsLst>
                  <a:gs pos="16000">
                    <a:srgbClr val="FFFFFF">
                      <a:alpha val="90000"/>
                    </a:srgbClr>
                  </a:gs>
                  <a:gs pos="90000">
                    <a:srgbClr val="FFFFFF">
                      <a:alpha val="90000"/>
                    </a:srgbClr>
                  </a:gs>
                </a:gsLst>
                <a:lin ang="16200000" scaled="0"/>
              </a:gradFill>
              <a:effectLst/>
              <a:uLnTx/>
              <a:uFillTx/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2578111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Vide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09460"/>
            <a:ext cx="4577398" cy="1874884"/>
          </a:xfrm>
          <a:noFill/>
        </p:spPr>
        <p:txBody>
          <a:bodyPr tIns="91440" bIns="91440" anchor="t" anchorCtr="0"/>
          <a:lstStyle>
            <a:lvl1pPr>
              <a:defRPr sz="7054" spc="-98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9"/>
            <a:ext cx="4578121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7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3" name="Rectangle 2"/>
          <p:cNvSpPr/>
          <p:nvPr/>
        </p:nvSpPr>
        <p:spPr>
          <a:xfrm>
            <a:off x="448212" y="291069"/>
            <a:ext cx="1516762" cy="7077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919" b="1">
                <a:solidFill>
                  <a:schemeClr val="bg1"/>
                </a:solidFill>
              </a:rPr>
              <a:t>video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1038" y="1705680"/>
            <a:ext cx="6218237" cy="360826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977017" y="864543"/>
            <a:ext cx="5083622" cy="538956"/>
          </a:xfrm>
          <a:prstGeom prst="rect">
            <a:avLst/>
          </a:prstGeom>
          <a:noFill/>
        </p:spPr>
        <p:txBody>
          <a:bodyPr wrap="none" lIns="179259" tIns="143407" rIns="179259" bIns="143407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1765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rPr>
              <a:t>Analytics &amp; Business Intelligence Partner Airlift</a:t>
            </a:r>
            <a:endParaRPr lang="en-US" sz="2353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1650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09460"/>
            <a:ext cx="9859116" cy="1874884"/>
          </a:xfrm>
          <a:noFill/>
        </p:spPr>
        <p:txBody>
          <a:bodyPr tIns="91440" bIns="91440" anchor="t" anchorCtr="0"/>
          <a:lstStyle>
            <a:lvl1pPr>
              <a:defRPr sz="7056" spc="-98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8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3" name="Rectangle 2"/>
          <p:cNvSpPr/>
          <p:nvPr/>
        </p:nvSpPr>
        <p:spPr>
          <a:xfrm>
            <a:off x="448212" y="291069"/>
            <a:ext cx="1516762" cy="7077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920" b="1">
                <a:solidFill>
                  <a:schemeClr val="bg1"/>
                </a:solidFill>
              </a:rPr>
              <a:t>video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977017" y="864543"/>
            <a:ext cx="5083622" cy="538956"/>
          </a:xfrm>
          <a:prstGeom prst="rect">
            <a:avLst/>
          </a:prstGeom>
          <a:noFill/>
        </p:spPr>
        <p:txBody>
          <a:bodyPr wrap="none" lIns="179259" tIns="143407" rIns="179259" bIns="143407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1765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rPr>
              <a:t>Analytics &amp; Business Intelligence Partner Airlift</a:t>
            </a:r>
            <a:endParaRPr lang="en-US" sz="2353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22592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457736"/>
            <a:ext cx="11653523" cy="1796217"/>
          </a:xfrm>
          <a:noFill/>
        </p:spPr>
        <p:txBody>
          <a:bodyPr tIns="91440" bIns="91440" anchor="ctr" anchorCtr="0"/>
          <a:lstStyle>
            <a:lvl1pPr>
              <a:defRPr sz="5881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510975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796217"/>
          </a:xfrm>
          <a:noFill/>
        </p:spPr>
        <p:txBody>
          <a:bodyPr tIns="91440" bIns="91440" anchor="ctr" anchorCtr="0"/>
          <a:lstStyle>
            <a:lvl1pPr>
              <a:defRPr sz="6469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979639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12508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661545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5609388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515984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4328600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invGray">
          <a:xfrm>
            <a:off x="353714" y="3134846"/>
            <a:ext cx="3320351" cy="709743"/>
          </a:xfrm>
          <a:prstGeom prst="rect">
            <a:avLst/>
          </a:prstGeom>
        </p:spPr>
      </p:pic>
      <p:sp>
        <p:nvSpPr>
          <p:cNvPr id="4" name="Text Box 3"/>
          <p:cNvSpPr txBox="1">
            <a:spLocks noChangeArrowheads="1"/>
          </p:cNvSpPr>
          <p:nvPr/>
        </p:nvSpPr>
        <p:spPr bwMode="blackWhite">
          <a:xfrm>
            <a:off x="194537" y="5296816"/>
            <a:ext cx="10758655" cy="44812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1028">
                <a:gradFill>
                  <a:gsLst>
                    <a:gs pos="7500">
                      <a:schemeClr val="tx1"/>
                    </a:gs>
                    <a:gs pos="19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2139570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69875" y="1015471"/>
            <a:ext cx="11709400" cy="517065"/>
          </a:xfrm>
        </p:spPr>
        <p:txBody>
          <a:bodyPr/>
          <a:lstStyle>
            <a:lvl1pPr marL="0" indent="0">
              <a:buFontTx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en-US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8504448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| Sub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7684" y="1710608"/>
            <a:ext cx="5833712" cy="1644641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56129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45">
                <a:solidFill>
                  <a:schemeClr val="tx2"/>
                </a:solidFill>
              </a:defRPr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709329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Title Accent Colo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328425"/>
            <a:ext cx="11653523" cy="1796217"/>
          </a:xfrm>
          <a:noFill/>
        </p:spPr>
        <p:txBody>
          <a:bodyPr tIns="91440" bIns="91440" anchor="ctr" anchorCtr="0"/>
          <a:lstStyle>
            <a:lvl1pPr>
              <a:defRPr sz="5881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Key takeaway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2457736"/>
            <a:ext cx="5378549" cy="1644641"/>
          </a:xfrm>
        </p:spPr>
        <p:txBody>
          <a:bodyPr lIns="603504"/>
          <a:lstStyle>
            <a:lvl1pPr marL="0" indent="0">
              <a:buNone/>
              <a:defRPr/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946596" y="2457736"/>
            <a:ext cx="5976166" cy="1644641"/>
          </a:xfrm>
        </p:spPr>
        <p:txBody>
          <a:bodyPr lIns="603504"/>
          <a:lstStyle>
            <a:lvl1pPr marL="0" indent="0">
              <a:buNone/>
              <a:defRPr/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94534" y="1710609"/>
            <a:ext cx="1120533" cy="954326"/>
          </a:xfrm>
          <a:prstGeom prst="rect">
            <a:avLst/>
          </a:prstGeom>
          <a:noFill/>
        </p:spPr>
        <p:txBody>
          <a:bodyPr wrap="square" lIns="179259" tIns="143407" rIns="179259" bIns="143407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4704">
                <a:solidFill>
                  <a:srgbClr val="3C6F82"/>
                </a:solidFill>
                <a:cs typeface="Segoe UI Semilight" panose="020B0402040204020203" pitchFamily="34" charset="0"/>
              </a:rPr>
              <a:t>01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795635" y="1710609"/>
            <a:ext cx="1419339" cy="954326"/>
          </a:xfrm>
          <a:prstGeom prst="rect">
            <a:avLst/>
          </a:prstGeom>
          <a:noFill/>
        </p:spPr>
        <p:txBody>
          <a:bodyPr wrap="square" lIns="179259" tIns="143407" rIns="179259" bIns="143407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4704">
                <a:solidFill>
                  <a:srgbClr val="3C6F82"/>
                </a:solidFill>
                <a:cs typeface="Segoe UI Semilight" panose="020B0402040204020203" pitchFamily="34" charset="0"/>
              </a:rPr>
              <a:t>02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094443" y="2457736"/>
            <a:ext cx="821723" cy="0"/>
          </a:xfrm>
          <a:prstGeom prst="line">
            <a:avLst/>
          </a:prstGeom>
          <a:ln w="38100">
            <a:solidFill>
              <a:srgbClr val="36678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343939" y="2457736"/>
            <a:ext cx="821723" cy="0"/>
          </a:xfrm>
          <a:prstGeom prst="line">
            <a:avLst/>
          </a:prstGeom>
          <a:ln w="38100">
            <a:solidFill>
              <a:srgbClr val="36678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25506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97080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24675391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9" dur="9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8" grpId="2"/>
    </p:bld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9231" y="3145041"/>
            <a:ext cx="3288506" cy="704445"/>
          </a:xfrm>
          <a:prstGeom prst="rect">
            <a:avLst/>
          </a:prstGeom>
        </p:spPr>
      </p:pic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266127" y="5819468"/>
            <a:ext cx="11659748" cy="888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79259" tIns="143409" rIns="179259" bIns="143409"/>
          <a:lstStyle>
            <a:lvl1pPr>
              <a:defRPr>
                <a:solidFill>
                  <a:schemeClr val="tx1"/>
                </a:solidFill>
                <a:latin typeface="Segoe U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5pPr>
            <a:lvl6pPr marL="25146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6pPr>
            <a:lvl7pPr marL="29718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7pPr>
            <a:lvl8pPr marL="34290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8pPr>
            <a:lvl9pPr marL="38862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9pPr>
          </a:lstStyle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© 2017 Microsoft Corporation. All rights reserved. Microsoft, Windows, and other product names are or may be registered trademarks and/or trademarks in the U.S. and/or other countries.</a:t>
            </a:r>
          </a:p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The information herein is for informational purposes only and represents the current view of Microsoft Corporation as of the date of this presentation. Because Microsoft must respond to changing market</a:t>
            </a:r>
          </a:p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conditions, it should not be interpreted to be a commitment on the part of Microsoft, and Microsoft cannot guarantee the accuracy of any information provided after the date of this presentation.</a:t>
            </a:r>
          </a:p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227914363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3" y="2629143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3" y="2914177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3" y="3199211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4" y="1774041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3" y="2059075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4" y="2344109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3" y="918939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3" y="1203973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3" y="1489007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4" y="63837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3" y="348871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4" y="633905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3" y="6049551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3" y="6334585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3" y="6619611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4" y="5194449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3" y="5479483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4" y="5764517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3" y="4339347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3" y="4624381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3" y="4909415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4" y="3484245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3" y="3769279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4" y="4054313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358249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Editab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6857008" y="5999452"/>
            <a:ext cx="5113948" cy="615609"/>
            <a:chOff x="274638" y="4554931"/>
            <a:chExt cx="5216493" cy="627864"/>
          </a:xfrm>
        </p:grpSpPr>
        <p:sp>
          <p:nvSpPr>
            <p:cNvPr id="7" name="TextBox 6"/>
            <p:cNvSpPr txBox="1"/>
            <p:nvPr userDrawn="1"/>
          </p:nvSpPr>
          <p:spPr>
            <a:xfrm>
              <a:off x="274638" y="4554931"/>
              <a:ext cx="5216493" cy="6278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2353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Las Vegas, Nevada	July 17–21, 2017</a:t>
              </a:r>
            </a:p>
          </p:txBody>
        </p:sp>
        <p:cxnSp>
          <p:nvCxnSpPr>
            <p:cNvPr id="10" name="Straight Connector 9"/>
            <p:cNvCxnSpPr>
              <a:cxnSpLocks/>
            </p:cNvCxnSpPr>
            <p:nvPr userDrawn="1"/>
          </p:nvCxnSpPr>
          <p:spPr>
            <a:xfrm>
              <a:off x="3059781" y="4673270"/>
              <a:ext cx="0" cy="365756"/>
            </a:xfrm>
            <a:prstGeom prst="line">
              <a:avLst/>
            </a:prstGeom>
            <a:ln w="1587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56C9DEE-6F0F-4952-B2B1-A47AFA7F3DE1}"/>
              </a:ext>
            </a:extLst>
          </p:cNvPr>
          <p:cNvSpPr txBox="1"/>
          <p:nvPr userDrawn="1"/>
        </p:nvSpPr>
        <p:spPr>
          <a:xfrm>
            <a:off x="221373" y="1834504"/>
            <a:ext cx="5692890" cy="1022871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icrosoft Ready t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CD16D0-030B-4E01-8C7E-8FA7B612BB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28510" y="1834504"/>
            <a:ext cx="6274974" cy="1022069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202095" y="259969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EA71668-2A88-4115-853E-BEC05FB59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28510" y="259969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202095" y="337802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6AE5335-01B3-4932-AE7C-C7409C947F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28510" y="337802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3942155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Gener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6857008" y="5999452"/>
            <a:ext cx="5113948" cy="615609"/>
            <a:chOff x="274638" y="4554931"/>
            <a:chExt cx="5216493" cy="627864"/>
          </a:xfrm>
        </p:grpSpPr>
        <p:sp>
          <p:nvSpPr>
            <p:cNvPr id="7" name="TextBox 6"/>
            <p:cNvSpPr txBox="1"/>
            <p:nvPr userDrawn="1"/>
          </p:nvSpPr>
          <p:spPr>
            <a:xfrm>
              <a:off x="274638" y="4554931"/>
              <a:ext cx="5216493" cy="6278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2353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Las Vegas, Nevada	July 17–21, 2017</a:t>
              </a:r>
            </a:p>
          </p:txBody>
        </p:sp>
        <p:cxnSp>
          <p:nvCxnSpPr>
            <p:cNvPr id="10" name="Straight Connector 9"/>
            <p:cNvCxnSpPr>
              <a:cxnSpLocks/>
            </p:cNvCxnSpPr>
            <p:nvPr userDrawn="1"/>
          </p:nvCxnSpPr>
          <p:spPr>
            <a:xfrm>
              <a:off x="3059781" y="4673270"/>
              <a:ext cx="0" cy="365756"/>
            </a:xfrm>
            <a:prstGeom prst="line">
              <a:avLst/>
            </a:prstGeom>
            <a:ln w="1587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56C9DEE-6F0F-4952-B2B1-A47AFA7F3DE1}"/>
              </a:ext>
            </a:extLst>
          </p:cNvPr>
          <p:cNvSpPr txBox="1"/>
          <p:nvPr userDrawn="1"/>
        </p:nvSpPr>
        <p:spPr>
          <a:xfrm>
            <a:off x="221373" y="1834504"/>
            <a:ext cx="786965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icrosoft Ready to believ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4927287" y="259969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explore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4927287" y="337802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wi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13911821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39677" y="288560"/>
            <a:ext cx="3585699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Session Code</a:t>
            </a:r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97080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4064124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2.13345E-6 L 1.62369E-6 2.13345E-6 " pathEditMode="relative" rAng="0" ptsTypes="AA">
                                      <p:cBhvr>
                                        <p:cTn id="9" dur="9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9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16" dur="9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8" dur="500" fill="hold"/>
                                        <p:tgtEl>
                                          <p:spTgt spid="8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/>
      <p:bldP spid="7" grpId="2"/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8" grpId="2"/>
    </p:bld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89.xml"/><Relationship Id="rId7" Type="http://schemas.openxmlformats.org/officeDocument/2006/relationships/slideLayout" Target="../slideLayouts/slideLayout193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88.xml"/><Relationship Id="rId1" Type="http://schemas.openxmlformats.org/officeDocument/2006/relationships/slideLayout" Target="../slideLayouts/slideLayout187.xml"/><Relationship Id="rId6" Type="http://schemas.openxmlformats.org/officeDocument/2006/relationships/slideLayout" Target="../slideLayouts/slideLayout192.xml"/><Relationship Id="rId11" Type="http://schemas.openxmlformats.org/officeDocument/2006/relationships/slideLayout" Target="../slideLayouts/slideLayout197.xml"/><Relationship Id="rId5" Type="http://schemas.openxmlformats.org/officeDocument/2006/relationships/slideLayout" Target="../slideLayouts/slideLayout191.xml"/><Relationship Id="rId10" Type="http://schemas.openxmlformats.org/officeDocument/2006/relationships/slideLayout" Target="../slideLayouts/slideLayout196.xml"/><Relationship Id="rId4" Type="http://schemas.openxmlformats.org/officeDocument/2006/relationships/slideLayout" Target="../slideLayouts/slideLayout190.xml"/><Relationship Id="rId9" Type="http://schemas.openxmlformats.org/officeDocument/2006/relationships/slideLayout" Target="../slideLayouts/slideLayout19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5.xml"/><Relationship Id="rId3" Type="http://schemas.openxmlformats.org/officeDocument/2006/relationships/slideLayout" Target="../slideLayouts/slideLayout200.xml"/><Relationship Id="rId7" Type="http://schemas.openxmlformats.org/officeDocument/2006/relationships/slideLayout" Target="../slideLayouts/slideLayout204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99.xml"/><Relationship Id="rId1" Type="http://schemas.openxmlformats.org/officeDocument/2006/relationships/slideLayout" Target="../slideLayouts/slideLayout198.xml"/><Relationship Id="rId6" Type="http://schemas.openxmlformats.org/officeDocument/2006/relationships/slideLayout" Target="../slideLayouts/slideLayout203.xml"/><Relationship Id="rId11" Type="http://schemas.openxmlformats.org/officeDocument/2006/relationships/slideLayout" Target="../slideLayouts/slideLayout208.xml"/><Relationship Id="rId5" Type="http://schemas.openxmlformats.org/officeDocument/2006/relationships/slideLayout" Target="../slideLayouts/slideLayout202.xml"/><Relationship Id="rId10" Type="http://schemas.openxmlformats.org/officeDocument/2006/relationships/slideLayout" Target="../slideLayouts/slideLayout207.xml"/><Relationship Id="rId4" Type="http://schemas.openxmlformats.org/officeDocument/2006/relationships/slideLayout" Target="../slideLayouts/slideLayout201.xml"/><Relationship Id="rId9" Type="http://schemas.openxmlformats.org/officeDocument/2006/relationships/slideLayout" Target="../slideLayouts/slideLayout206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6.xml"/><Relationship Id="rId13" Type="http://schemas.openxmlformats.org/officeDocument/2006/relationships/slideLayout" Target="../slideLayouts/slideLayout221.xml"/><Relationship Id="rId18" Type="http://schemas.openxmlformats.org/officeDocument/2006/relationships/slideLayout" Target="../slideLayouts/slideLayout226.xml"/><Relationship Id="rId3" Type="http://schemas.openxmlformats.org/officeDocument/2006/relationships/slideLayout" Target="../slideLayouts/slideLayout211.xml"/><Relationship Id="rId7" Type="http://schemas.openxmlformats.org/officeDocument/2006/relationships/slideLayout" Target="../slideLayouts/slideLayout215.xml"/><Relationship Id="rId12" Type="http://schemas.openxmlformats.org/officeDocument/2006/relationships/slideLayout" Target="../slideLayouts/slideLayout220.xml"/><Relationship Id="rId17" Type="http://schemas.openxmlformats.org/officeDocument/2006/relationships/slideLayout" Target="../slideLayouts/slideLayout225.xml"/><Relationship Id="rId2" Type="http://schemas.openxmlformats.org/officeDocument/2006/relationships/slideLayout" Target="../slideLayouts/slideLayout210.xml"/><Relationship Id="rId16" Type="http://schemas.openxmlformats.org/officeDocument/2006/relationships/slideLayout" Target="../slideLayouts/slideLayout224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slideLayout" Target="../slideLayouts/slideLayout219.xml"/><Relationship Id="rId5" Type="http://schemas.openxmlformats.org/officeDocument/2006/relationships/slideLayout" Target="../slideLayouts/slideLayout213.xml"/><Relationship Id="rId15" Type="http://schemas.openxmlformats.org/officeDocument/2006/relationships/slideLayout" Target="../slideLayouts/slideLayout223.xml"/><Relationship Id="rId10" Type="http://schemas.openxmlformats.org/officeDocument/2006/relationships/slideLayout" Target="../slideLayouts/slideLayout218.xml"/><Relationship Id="rId19" Type="http://schemas.openxmlformats.org/officeDocument/2006/relationships/theme" Target="../theme/theme12.xml"/><Relationship Id="rId4" Type="http://schemas.openxmlformats.org/officeDocument/2006/relationships/slideLayout" Target="../slideLayouts/slideLayout212.xml"/><Relationship Id="rId9" Type="http://schemas.openxmlformats.org/officeDocument/2006/relationships/slideLayout" Target="../slideLayouts/slideLayout217.xml"/><Relationship Id="rId14" Type="http://schemas.openxmlformats.org/officeDocument/2006/relationships/slideLayout" Target="../slideLayouts/slideLayout22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4.xml"/><Relationship Id="rId13" Type="http://schemas.openxmlformats.org/officeDocument/2006/relationships/slideLayout" Target="../slideLayouts/slideLayout239.xml"/><Relationship Id="rId18" Type="http://schemas.openxmlformats.org/officeDocument/2006/relationships/slideLayout" Target="../slideLayouts/slideLayout244.xml"/><Relationship Id="rId3" Type="http://schemas.openxmlformats.org/officeDocument/2006/relationships/slideLayout" Target="../slideLayouts/slideLayout229.xml"/><Relationship Id="rId21" Type="http://schemas.openxmlformats.org/officeDocument/2006/relationships/image" Target="../media/image27.png"/><Relationship Id="rId7" Type="http://schemas.openxmlformats.org/officeDocument/2006/relationships/slideLayout" Target="../slideLayouts/slideLayout233.xml"/><Relationship Id="rId12" Type="http://schemas.openxmlformats.org/officeDocument/2006/relationships/slideLayout" Target="../slideLayouts/slideLayout238.xml"/><Relationship Id="rId17" Type="http://schemas.openxmlformats.org/officeDocument/2006/relationships/slideLayout" Target="../slideLayouts/slideLayout243.xml"/><Relationship Id="rId2" Type="http://schemas.openxmlformats.org/officeDocument/2006/relationships/slideLayout" Target="../slideLayouts/slideLayout228.xml"/><Relationship Id="rId16" Type="http://schemas.openxmlformats.org/officeDocument/2006/relationships/slideLayout" Target="../slideLayouts/slideLayout242.xml"/><Relationship Id="rId20" Type="http://schemas.openxmlformats.org/officeDocument/2006/relationships/theme" Target="../theme/theme13.xml"/><Relationship Id="rId1" Type="http://schemas.openxmlformats.org/officeDocument/2006/relationships/slideLayout" Target="../slideLayouts/slideLayout227.xml"/><Relationship Id="rId6" Type="http://schemas.openxmlformats.org/officeDocument/2006/relationships/slideLayout" Target="../slideLayouts/slideLayout232.xml"/><Relationship Id="rId11" Type="http://schemas.openxmlformats.org/officeDocument/2006/relationships/slideLayout" Target="../slideLayouts/slideLayout237.xml"/><Relationship Id="rId5" Type="http://schemas.openxmlformats.org/officeDocument/2006/relationships/slideLayout" Target="../slideLayouts/slideLayout231.xml"/><Relationship Id="rId15" Type="http://schemas.openxmlformats.org/officeDocument/2006/relationships/slideLayout" Target="../slideLayouts/slideLayout241.xml"/><Relationship Id="rId10" Type="http://schemas.openxmlformats.org/officeDocument/2006/relationships/slideLayout" Target="../slideLayouts/slideLayout236.xml"/><Relationship Id="rId19" Type="http://schemas.openxmlformats.org/officeDocument/2006/relationships/slideLayout" Target="../slideLayouts/slideLayout245.xml"/><Relationship Id="rId4" Type="http://schemas.openxmlformats.org/officeDocument/2006/relationships/slideLayout" Target="../slideLayouts/slideLayout230.xml"/><Relationship Id="rId9" Type="http://schemas.openxmlformats.org/officeDocument/2006/relationships/slideLayout" Target="../slideLayouts/slideLayout235.xml"/><Relationship Id="rId14" Type="http://schemas.openxmlformats.org/officeDocument/2006/relationships/slideLayout" Target="../slideLayouts/slideLayout240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3.xml"/><Relationship Id="rId3" Type="http://schemas.openxmlformats.org/officeDocument/2006/relationships/slideLayout" Target="../slideLayouts/slideLayout248.xml"/><Relationship Id="rId7" Type="http://schemas.openxmlformats.org/officeDocument/2006/relationships/slideLayout" Target="../slideLayouts/slideLayout252.xml"/><Relationship Id="rId2" Type="http://schemas.openxmlformats.org/officeDocument/2006/relationships/slideLayout" Target="../slideLayouts/slideLayout247.xml"/><Relationship Id="rId1" Type="http://schemas.openxmlformats.org/officeDocument/2006/relationships/slideLayout" Target="../slideLayouts/slideLayout246.xml"/><Relationship Id="rId6" Type="http://schemas.openxmlformats.org/officeDocument/2006/relationships/slideLayout" Target="../slideLayouts/slideLayout251.xml"/><Relationship Id="rId5" Type="http://schemas.openxmlformats.org/officeDocument/2006/relationships/slideLayout" Target="../slideLayouts/slideLayout250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249.xml"/><Relationship Id="rId9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6.xml"/><Relationship Id="rId18" Type="http://schemas.openxmlformats.org/officeDocument/2006/relationships/slideLayout" Target="../slideLayouts/slideLayout271.xml"/><Relationship Id="rId26" Type="http://schemas.openxmlformats.org/officeDocument/2006/relationships/slideLayout" Target="../slideLayouts/slideLayout279.xml"/><Relationship Id="rId3" Type="http://schemas.openxmlformats.org/officeDocument/2006/relationships/slideLayout" Target="../slideLayouts/slideLayout256.xml"/><Relationship Id="rId21" Type="http://schemas.openxmlformats.org/officeDocument/2006/relationships/slideLayout" Target="../slideLayouts/slideLayout274.xml"/><Relationship Id="rId7" Type="http://schemas.openxmlformats.org/officeDocument/2006/relationships/slideLayout" Target="../slideLayouts/slideLayout260.xml"/><Relationship Id="rId12" Type="http://schemas.openxmlformats.org/officeDocument/2006/relationships/slideLayout" Target="../slideLayouts/slideLayout265.xml"/><Relationship Id="rId17" Type="http://schemas.openxmlformats.org/officeDocument/2006/relationships/slideLayout" Target="../slideLayouts/slideLayout270.xml"/><Relationship Id="rId25" Type="http://schemas.openxmlformats.org/officeDocument/2006/relationships/slideLayout" Target="../slideLayouts/slideLayout278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55.xml"/><Relationship Id="rId16" Type="http://schemas.openxmlformats.org/officeDocument/2006/relationships/slideLayout" Target="../slideLayouts/slideLayout269.xml"/><Relationship Id="rId20" Type="http://schemas.openxmlformats.org/officeDocument/2006/relationships/slideLayout" Target="../slideLayouts/slideLayout273.xml"/><Relationship Id="rId29" Type="http://schemas.openxmlformats.org/officeDocument/2006/relationships/slideLayout" Target="../slideLayouts/slideLayout282.xml"/><Relationship Id="rId1" Type="http://schemas.openxmlformats.org/officeDocument/2006/relationships/slideLayout" Target="../slideLayouts/slideLayout254.xml"/><Relationship Id="rId6" Type="http://schemas.openxmlformats.org/officeDocument/2006/relationships/slideLayout" Target="../slideLayouts/slideLayout259.xml"/><Relationship Id="rId11" Type="http://schemas.openxmlformats.org/officeDocument/2006/relationships/slideLayout" Target="../slideLayouts/slideLayout264.xml"/><Relationship Id="rId24" Type="http://schemas.openxmlformats.org/officeDocument/2006/relationships/slideLayout" Target="../slideLayouts/slideLayout277.xml"/><Relationship Id="rId32" Type="http://schemas.openxmlformats.org/officeDocument/2006/relationships/image" Target="../media/image33.png"/><Relationship Id="rId5" Type="http://schemas.openxmlformats.org/officeDocument/2006/relationships/slideLayout" Target="../slideLayouts/slideLayout258.xml"/><Relationship Id="rId15" Type="http://schemas.openxmlformats.org/officeDocument/2006/relationships/slideLayout" Target="../slideLayouts/slideLayout268.xml"/><Relationship Id="rId23" Type="http://schemas.openxmlformats.org/officeDocument/2006/relationships/slideLayout" Target="../slideLayouts/slideLayout276.xml"/><Relationship Id="rId28" Type="http://schemas.openxmlformats.org/officeDocument/2006/relationships/slideLayout" Target="../slideLayouts/slideLayout281.xml"/><Relationship Id="rId10" Type="http://schemas.openxmlformats.org/officeDocument/2006/relationships/slideLayout" Target="../slideLayouts/slideLayout263.xml"/><Relationship Id="rId19" Type="http://schemas.openxmlformats.org/officeDocument/2006/relationships/slideLayout" Target="../slideLayouts/slideLayout272.xml"/><Relationship Id="rId31" Type="http://schemas.openxmlformats.org/officeDocument/2006/relationships/theme" Target="../theme/theme15.xml"/><Relationship Id="rId4" Type="http://schemas.openxmlformats.org/officeDocument/2006/relationships/slideLayout" Target="../slideLayouts/slideLayout257.xml"/><Relationship Id="rId9" Type="http://schemas.openxmlformats.org/officeDocument/2006/relationships/slideLayout" Target="../slideLayouts/slideLayout262.xml"/><Relationship Id="rId14" Type="http://schemas.openxmlformats.org/officeDocument/2006/relationships/slideLayout" Target="../slideLayouts/slideLayout267.xml"/><Relationship Id="rId22" Type="http://schemas.openxmlformats.org/officeDocument/2006/relationships/slideLayout" Target="../slideLayouts/slideLayout275.xml"/><Relationship Id="rId27" Type="http://schemas.openxmlformats.org/officeDocument/2006/relationships/slideLayout" Target="../slideLayouts/slideLayout280.xml"/><Relationship Id="rId30" Type="http://schemas.openxmlformats.org/officeDocument/2006/relationships/slideLayout" Target="../slideLayouts/slideLayout283.xml"/><Relationship Id="rId8" Type="http://schemas.openxmlformats.org/officeDocument/2006/relationships/slideLayout" Target="../slideLayouts/slideLayout261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1.xml"/><Relationship Id="rId13" Type="http://schemas.openxmlformats.org/officeDocument/2006/relationships/slideLayout" Target="../slideLayouts/slideLayout296.xml"/><Relationship Id="rId18" Type="http://schemas.openxmlformats.org/officeDocument/2006/relationships/slideLayout" Target="../slideLayouts/slideLayout301.xml"/><Relationship Id="rId26" Type="http://schemas.openxmlformats.org/officeDocument/2006/relationships/slideLayout" Target="../slideLayouts/slideLayout309.xml"/><Relationship Id="rId3" Type="http://schemas.openxmlformats.org/officeDocument/2006/relationships/slideLayout" Target="../slideLayouts/slideLayout286.xml"/><Relationship Id="rId21" Type="http://schemas.openxmlformats.org/officeDocument/2006/relationships/slideLayout" Target="../slideLayouts/slideLayout304.xml"/><Relationship Id="rId7" Type="http://schemas.openxmlformats.org/officeDocument/2006/relationships/slideLayout" Target="../slideLayouts/slideLayout290.xml"/><Relationship Id="rId12" Type="http://schemas.openxmlformats.org/officeDocument/2006/relationships/slideLayout" Target="../slideLayouts/slideLayout295.xml"/><Relationship Id="rId17" Type="http://schemas.openxmlformats.org/officeDocument/2006/relationships/slideLayout" Target="../slideLayouts/slideLayout300.xml"/><Relationship Id="rId25" Type="http://schemas.openxmlformats.org/officeDocument/2006/relationships/slideLayout" Target="../slideLayouts/slideLayout308.xml"/><Relationship Id="rId2" Type="http://schemas.openxmlformats.org/officeDocument/2006/relationships/slideLayout" Target="../slideLayouts/slideLayout285.xml"/><Relationship Id="rId16" Type="http://schemas.openxmlformats.org/officeDocument/2006/relationships/slideLayout" Target="../slideLayouts/slideLayout299.xml"/><Relationship Id="rId20" Type="http://schemas.openxmlformats.org/officeDocument/2006/relationships/slideLayout" Target="../slideLayouts/slideLayout303.xml"/><Relationship Id="rId29" Type="http://schemas.openxmlformats.org/officeDocument/2006/relationships/slideLayout" Target="../slideLayouts/slideLayout312.xml"/><Relationship Id="rId1" Type="http://schemas.openxmlformats.org/officeDocument/2006/relationships/slideLayout" Target="../slideLayouts/slideLayout284.xml"/><Relationship Id="rId6" Type="http://schemas.openxmlformats.org/officeDocument/2006/relationships/slideLayout" Target="../slideLayouts/slideLayout289.xml"/><Relationship Id="rId11" Type="http://schemas.openxmlformats.org/officeDocument/2006/relationships/slideLayout" Target="../slideLayouts/slideLayout294.xml"/><Relationship Id="rId24" Type="http://schemas.openxmlformats.org/officeDocument/2006/relationships/slideLayout" Target="../slideLayouts/slideLayout307.xml"/><Relationship Id="rId5" Type="http://schemas.openxmlformats.org/officeDocument/2006/relationships/slideLayout" Target="../slideLayouts/slideLayout288.xml"/><Relationship Id="rId15" Type="http://schemas.openxmlformats.org/officeDocument/2006/relationships/slideLayout" Target="../slideLayouts/slideLayout298.xml"/><Relationship Id="rId23" Type="http://schemas.openxmlformats.org/officeDocument/2006/relationships/slideLayout" Target="../slideLayouts/slideLayout306.xml"/><Relationship Id="rId28" Type="http://schemas.openxmlformats.org/officeDocument/2006/relationships/slideLayout" Target="../slideLayouts/slideLayout311.xml"/><Relationship Id="rId10" Type="http://schemas.openxmlformats.org/officeDocument/2006/relationships/slideLayout" Target="../slideLayouts/slideLayout293.xml"/><Relationship Id="rId19" Type="http://schemas.openxmlformats.org/officeDocument/2006/relationships/slideLayout" Target="../slideLayouts/slideLayout302.xml"/><Relationship Id="rId31" Type="http://schemas.openxmlformats.org/officeDocument/2006/relationships/image" Target="../media/image29.emf"/><Relationship Id="rId4" Type="http://schemas.openxmlformats.org/officeDocument/2006/relationships/slideLayout" Target="../slideLayouts/slideLayout287.xml"/><Relationship Id="rId9" Type="http://schemas.openxmlformats.org/officeDocument/2006/relationships/slideLayout" Target="../slideLayouts/slideLayout292.xml"/><Relationship Id="rId14" Type="http://schemas.openxmlformats.org/officeDocument/2006/relationships/slideLayout" Target="../slideLayouts/slideLayout297.xml"/><Relationship Id="rId22" Type="http://schemas.openxmlformats.org/officeDocument/2006/relationships/slideLayout" Target="../slideLayouts/slideLayout305.xml"/><Relationship Id="rId27" Type="http://schemas.openxmlformats.org/officeDocument/2006/relationships/slideLayout" Target="../slideLayouts/slideLayout310.xml"/><Relationship Id="rId30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0.xml"/><Relationship Id="rId13" Type="http://schemas.openxmlformats.org/officeDocument/2006/relationships/slideLayout" Target="../slideLayouts/slideLayout325.xml"/><Relationship Id="rId18" Type="http://schemas.openxmlformats.org/officeDocument/2006/relationships/slideLayout" Target="../slideLayouts/slideLayout330.xml"/><Relationship Id="rId3" Type="http://schemas.openxmlformats.org/officeDocument/2006/relationships/slideLayout" Target="../slideLayouts/slideLayout315.xml"/><Relationship Id="rId7" Type="http://schemas.openxmlformats.org/officeDocument/2006/relationships/slideLayout" Target="../slideLayouts/slideLayout319.xml"/><Relationship Id="rId12" Type="http://schemas.openxmlformats.org/officeDocument/2006/relationships/slideLayout" Target="../slideLayouts/slideLayout324.xml"/><Relationship Id="rId17" Type="http://schemas.openxmlformats.org/officeDocument/2006/relationships/slideLayout" Target="../slideLayouts/slideLayout329.xml"/><Relationship Id="rId2" Type="http://schemas.openxmlformats.org/officeDocument/2006/relationships/slideLayout" Target="../slideLayouts/slideLayout314.xml"/><Relationship Id="rId16" Type="http://schemas.openxmlformats.org/officeDocument/2006/relationships/slideLayout" Target="../slideLayouts/slideLayout328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13.xml"/><Relationship Id="rId6" Type="http://schemas.openxmlformats.org/officeDocument/2006/relationships/slideLayout" Target="../slideLayouts/slideLayout318.xml"/><Relationship Id="rId11" Type="http://schemas.openxmlformats.org/officeDocument/2006/relationships/slideLayout" Target="../slideLayouts/slideLayout323.xml"/><Relationship Id="rId5" Type="http://schemas.openxmlformats.org/officeDocument/2006/relationships/slideLayout" Target="../slideLayouts/slideLayout317.xml"/><Relationship Id="rId15" Type="http://schemas.openxmlformats.org/officeDocument/2006/relationships/slideLayout" Target="../slideLayouts/slideLayout327.xml"/><Relationship Id="rId10" Type="http://schemas.openxmlformats.org/officeDocument/2006/relationships/slideLayout" Target="../slideLayouts/slideLayout322.xml"/><Relationship Id="rId19" Type="http://schemas.openxmlformats.org/officeDocument/2006/relationships/theme" Target="../theme/theme17.xml"/><Relationship Id="rId4" Type="http://schemas.openxmlformats.org/officeDocument/2006/relationships/slideLayout" Target="../slideLayouts/slideLayout316.xml"/><Relationship Id="rId9" Type="http://schemas.openxmlformats.org/officeDocument/2006/relationships/slideLayout" Target="../slideLayouts/slideLayout321.xml"/><Relationship Id="rId14" Type="http://schemas.openxmlformats.org/officeDocument/2006/relationships/slideLayout" Target="../slideLayouts/slideLayout326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8.xml"/><Relationship Id="rId13" Type="http://schemas.openxmlformats.org/officeDocument/2006/relationships/slideLayout" Target="../slideLayouts/slideLayout343.xml"/><Relationship Id="rId3" Type="http://schemas.openxmlformats.org/officeDocument/2006/relationships/slideLayout" Target="../slideLayouts/slideLayout333.xml"/><Relationship Id="rId7" Type="http://schemas.openxmlformats.org/officeDocument/2006/relationships/slideLayout" Target="../slideLayouts/slideLayout337.xml"/><Relationship Id="rId12" Type="http://schemas.openxmlformats.org/officeDocument/2006/relationships/slideLayout" Target="../slideLayouts/slideLayout342.xml"/><Relationship Id="rId2" Type="http://schemas.openxmlformats.org/officeDocument/2006/relationships/slideLayout" Target="../slideLayouts/slideLayout332.xml"/><Relationship Id="rId1" Type="http://schemas.openxmlformats.org/officeDocument/2006/relationships/slideLayout" Target="../slideLayouts/slideLayout331.xml"/><Relationship Id="rId6" Type="http://schemas.openxmlformats.org/officeDocument/2006/relationships/slideLayout" Target="../slideLayouts/slideLayout336.xml"/><Relationship Id="rId11" Type="http://schemas.openxmlformats.org/officeDocument/2006/relationships/slideLayout" Target="../slideLayouts/slideLayout341.xml"/><Relationship Id="rId5" Type="http://schemas.openxmlformats.org/officeDocument/2006/relationships/slideLayout" Target="../slideLayouts/slideLayout335.xml"/><Relationship Id="rId10" Type="http://schemas.openxmlformats.org/officeDocument/2006/relationships/slideLayout" Target="../slideLayouts/slideLayout340.xml"/><Relationship Id="rId4" Type="http://schemas.openxmlformats.org/officeDocument/2006/relationships/slideLayout" Target="../slideLayouts/slideLayout334.xml"/><Relationship Id="rId9" Type="http://schemas.openxmlformats.org/officeDocument/2006/relationships/slideLayout" Target="../slideLayouts/slideLayout339.xml"/><Relationship Id="rId14" Type="http://schemas.openxmlformats.org/officeDocument/2006/relationships/theme" Target="../theme/theme1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42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6.xml"/><Relationship Id="rId18" Type="http://schemas.openxmlformats.org/officeDocument/2006/relationships/slideLayout" Target="../slideLayouts/slideLayout81.xml"/><Relationship Id="rId26" Type="http://schemas.openxmlformats.org/officeDocument/2006/relationships/slideLayout" Target="../slideLayouts/slideLayout89.xml"/><Relationship Id="rId3" Type="http://schemas.openxmlformats.org/officeDocument/2006/relationships/slideLayout" Target="../slideLayouts/slideLayout66.xml"/><Relationship Id="rId21" Type="http://schemas.openxmlformats.org/officeDocument/2006/relationships/slideLayout" Target="../slideLayouts/slideLayout84.xml"/><Relationship Id="rId34" Type="http://schemas.openxmlformats.org/officeDocument/2006/relationships/theme" Target="../theme/theme5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slideLayout" Target="../slideLayouts/slideLayout80.xml"/><Relationship Id="rId25" Type="http://schemas.openxmlformats.org/officeDocument/2006/relationships/slideLayout" Target="../slideLayouts/slideLayout88.xml"/><Relationship Id="rId33" Type="http://schemas.openxmlformats.org/officeDocument/2006/relationships/slideLayout" Target="../slideLayouts/slideLayout96.xml"/><Relationship Id="rId2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79.xml"/><Relationship Id="rId20" Type="http://schemas.openxmlformats.org/officeDocument/2006/relationships/slideLayout" Target="../slideLayouts/slideLayout83.xml"/><Relationship Id="rId29" Type="http://schemas.openxmlformats.org/officeDocument/2006/relationships/slideLayout" Target="../slideLayouts/slideLayout92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24" Type="http://schemas.openxmlformats.org/officeDocument/2006/relationships/slideLayout" Target="../slideLayouts/slideLayout87.xml"/><Relationship Id="rId32" Type="http://schemas.openxmlformats.org/officeDocument/2006/relationships/slideLayout" Target="../slideLayouts/slideLayout95.xml"/><Relationship Id="rId5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8.xml"/><Relationship Id="rId23" Type="http://schemas.openxmlformats.org/officeDocument/2006/relationships/slideLayout" Target="../slideLayouts/slideLayout86.xml"/><Relationship Id="rId28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73.xml"/><Relationship Id="rId19" Type="http://schemas.openxmlformats.org/officeDocument/2006/relationships/slideLayout" Target="../slideLayouts/slideLayout82.xml"/><Relationship Id="rId31" Type="http://schemas.openxmlformats.org/officeDocument/2006/relationships/slideLayout" Target="../slideLayouts/slideLayout94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7.xml"/><Relationship Id="rId22" Type="http://schemas.openxmlformats.org/officeDocument/2006/relationships/slideLayout" Target="../slideLayouts/slideLayout85.xml"/><Relationship Id="rId27" Type="http://schemas.openxmlformats.org/officeDocument/2006/relationships/slideLayout" Target="../slideLayouts/slideLayout90.xml"/><Relationship Id="rId30" Type="http://schemas.openxmlformats.org/officeDocument/2006/relationships/slideLayout" Target="../slideLayouts/slideLayout93.xml"/><Relationship Id="rId35" Type="http://schemas.openxmlformats.org/officeDocument/2006/relationships/image" Target="../media/image19.png"/><Relationship Id="rId8" Type="http://schemas.openxmlformats.org/officeDocument/2006/relationships/slideLayout" Target="../slideLayouts/slideLayout7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3" Type="http://schemas.openxmlformats.org/officeDocument/2006/relationships/slideLayout" Target="../slideLayouts/slideLayout99.xml"/><Relationship Id="rId21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23" Type="http://schemas.openxmlformats.org/officeDocument/2006/relationships/theme" Target="../theme/theme6.xml"/><Relationship Id="rId10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slideLayout" Target="../slideLayouts/slideLayout11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slideLayout" Target="../slideLayouts/slideLayout131.xml"/><Relationship Id="rId18" Type="http://schemas.openxmlformats.org/officeDocument/2006/relationships/slideLayout" Target="../slideLayouts/slideLayout136.xml"/><Relationship Id="rId3" Type="http://schemas.openxmlformats.org/officeDocument/2006/relationships/slideLayout" Target="../slideLayouts/slideLayout121.xml"/><Relationship Id="rId21" Type="http://schemas.openxmlformats.org/officeDocument/2006/relationships/image" Target="../media/image27.png"/><Relationship Id="rId7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0.xml"/><Relationship Id="rId17" Type="http://schemas.openxmlformats.org/officeDocument/2006/relationships/slideLayout" Target="../slideLayouts/slideLayout135.xml"/><Relationship Id="rId2" Type="http://schemas.openxmlformats.org/officeDocument/2006/relationships/slideLayout" Target="../slideLayouts/slideLayout120.xml"/><Relationship Id="rId16" Type="http://schemas.openxmlformats.org/officeDocument/2006/relationships/slideLayout" Target="../slideLayouts/slideLayout134.xml"/><Relationship Id="rId20" Type="http://schemas.openxmlformats.org/officeDocument/2006/relationships/theme" Target="../theme/theme7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3.xml"/><Relationship Id="rId15" Type="http://schemas.openxmlformats.org/officeDocument/2006/relationships/slideLayout" Target="../slideLayouts/slideLayout133.xml"/><Relationship Id="rId10" Type="http://schemas.openxmlformats.org/officeDocument/2006/relationships/slideLayout" Target="../slideLayouts/slideLayout128.xml"/><Relationship Id="rId19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slideLayout" Target="../slideLayouts/slideLayout13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13" Type="http://schemas.openxmlformats.org/officeDocument/2006/relationships/slideLayout" Target="../slideLayouts/slideLayout150.xml"/><Relationship Id="rId18" Type="http://schemas.openxmlformats.org/officeDocument/2006/relationships/slideLayout" Target="../slideLayouts/slideLayout155.xml"/><Relationship Id="rId3" Type="http://schemas.openxmlformats.org/officeDocument/2006/relationships/slideLayout" Target="../slideLayouts/slideLayout140.xml"/><Relationship Id="rId21" Type="http://schemas.openxmlformats.org/officeDocument/2006/relationships/slideLayout" Target="../slideLayouts/slideLayout158.xml"/><Relationship Id="rId7" Type="http://schemas.openxmlformats.org/officeDocument/2006/relationships/slideLayout" Target="../slideLayouts/slideLayout144.xml"/><Relationship Id="rId12" Type="http://schemas.openxmlformats.org/officeDocument/2006/relationships/slideLayout" Target="../slideLayouts/slideLayout149.xml"/><Relationship Id="rId17" Type="http://schemas.openxmlformats.org/officeDocument/2006/relationships/slideLayout" Target="../slideLayouts/slideLayout154.xml"/><Relationship Id="rId2" Type="http://schemas.openxmlformats.org/officeDocument/2006/relationships/slideLayout" Target="../slideLayouts/slideLayout139.xml"/><Relationship Id="rId16" Type="http://schemas.openxmlformats.org/officeDocument/2006/relationships/slideLayout" Target="../slideLayouts/slideLayout153.xml"/><Relationship Id="rId20" Type="http://schemas.openxmlformats.org/officeDocument/2006/relationships/slideLayout" Target="../slideLayouts/slideLayout157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42.xml"/><Relationship Id="rId15" Type="http://schemas.openxmlformats.org/officeDocument/2006/relationships/slideLayout" Target="../slideLayouts/slideLayout152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47.xml"/><Relationship Id="rId19" Type="http://schemas.openxmlformats.org/officeDocument/2006/relationships/slideLayout" Target="../slideLayouts/slideLayout156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slideLayout" Target="../slideLayouts/slideLayout151.xml"/><Relationship Id="rId22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13" Type="http://schemas.openxmlformats.org/officeDocument/2006/relationships/slideLayout" Target="../slideLayouts/slideLayout171.xml"/><Relationship Id="rId18" Type="http://schemas.openxmlformats.org/officeDocument/2006/relationships/slideLayout" Target="../slideLayouts/slideLayout176.xml"/><Relationship Id="rId26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61.xml"/><Relationship Id="rId21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65.xml"/><Relationship Id="rId12" Type="http://schemas.openxmlformats.org/officeDocument/2006/relationships/slideLayout" Target="../slideLayouts/slideLayout170.xml"/><Relationship Id="rId17" Type="http://schemas.openxmlformats.org/officeDocument/2006/relationships/slideLayout" Target="../slideLayouts/slideLayout175.xml"/><Relationship Id="rId25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60.xml"/><Relationship Id="rId16" Type="http://schemas.openxmlformats.org/officeDocument/2006/relationships/slideLayout" Target="../slideLayouts/slideLayout174.xml"/><Relationship Id="rId20" Type="http://schemas.openxmlformats.org/officeDocument/2006/relationships/slideLayout" Target="../slideLayouts/slideLayout178.xml"/><Relationship Id="rId29" Type="http://schemas.openxmlformats.org/officeDocument/2006/relationships/theme" Target="../theme/theme9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24" Type="http://schemas.openxmlformats.org/officeDocument/2006/relationships/slideLayout" Target="../slideLayouts/slideLayout182.xml"/><Relationship Id="rId5" Type="http://schemas.openxmlformats.org/officeDocument/2006/relationships/slideLayout" Target="../slideLayouts/slideLayout163.xml"/><Relationship Id="rId15" Type="http://schemas.openxmlformats.org/officeDocument/2006/relationships/slideLayout" Target="../slideLayouts/slideLayout173.xml"/><Relationship Id="rId23" Type="http://schemas.openxmlformats.org/officeDocument/2006/relationships/slideLayout" Target="../slideLayouts/slideLayout181.xml"/><Relationship Id="rId28" Type="http://schemas.openxmlformats.org/officeDocument/2006/relationships/slideLayout" Target="../slideLayouts/slideLayout186.xml"/><Relationship Id="rId10" Type="http://schemas.openxmlformats.org/officeDocument/2006/relationships/slideLayout" Target="../slideLayouts/slideLayout168.xml"/><Relationship Id="rId19" Type="http://schemas.openxmlformats.org/officeDocument/2006/relationships/slideLayout" Target="../slideLayouts/slideLayout177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Relationship Id="rId14" Type="http://schemas.openxmlformats.org/officeDocument/2006/relationships/slideLayout" Target="../slideLayouts/slideLayout172.xml"/><Relationship Id="rId22" Type="http://schemas.openxmlformats.org/officeDocument/2006/relationships/slideLayout" Target="../slideLayouts/slideLayout180.xml"/><Relationship Id="rId27" Type="http://schemas.openxmlformats.org/officeDocument/2006/relationships/slideLayout" Target="../slideLayouts/slideLayout185.xml"/><Relationship Id="rId30" Type="http://schemas.openxmlformats.org/officeDocument/2006/relationships/image" Target="../media/image29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71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9"/>
            <a:ext cx="11653521" cy="2328587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 rot="5400000">
            <a:off x="9187081" y="3012391"/>
            <a:ext cx="6858623" cy="833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735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7" r:id="rId4"/>
    <p:sldLayoutId id="2147483878" r:id="rId5"/>
    <p:sldLayoutId id="2147483879" r:id="rId6"/>
    <p:sldLayoutId id="2147483880" r:id="rId7"/>
    <p:sldLayoutId id="2147483881" r:id="rId8"/>
    <p:sldLayoutId id="2147483882" r:id="rId9"/>
    <p:sldLayoutId id="2147483883" r:id="rId10"/>
    <p:sldLayoutId id="2147483884" r:id="rId11"/>
  </p:sldLayoutIdLst>
  <p:transition>
    <p:fade/>
  </p:transition>
  <p:txStyles>
    <p:titleStyle>
      <a:lvl1pPr algn="l" defTabSz="914344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2" marR="0" indent="-224092" algn="l" defTabSz="9143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82" marR="0" indent="-224092" algn="l" defTabSz="9143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74" marR="0" indent="-224092" algn="l" defTabSz="9143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64" marR="0" indent="-224092" algn="l" defTabSz="9143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55" marR="0" indent="-224092" algn="l" defTabSz="9143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446" indent="-228586" algn="l" defTabSz="914344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9" indent="-228586" algn="l" defTabSz="914344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792" indent="-228586" algn="l" defTabSz="914344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964" indent="-228586" algn="l" defTabSz="914344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44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6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9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2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033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04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378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F721487-8B7F-493B-8B57-62BA49E7B8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54DF15-FA05-4A0F-8473-3C4660A5C3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FE8759-22C2-468C-A375-06EB61BBC15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1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E64FB3-BD4F-4CB3-9479-4360403CE383}" type="datetimeFigureOut">
              <a:rPr lang="en-US" smtClean="0"/>
              <a:t>9/2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63FC92-B2A4-4CC8-A0C7-B966B0955B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1" y="63563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AB0586-BA76-4E19-8CCC-FB785A0716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029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  <p:sldLayoutId id="2147483894" r:id="rId9"/>
    <p:sldLayoutId id="2147483895" r:id="rId10"/>
    <p:sldLayoutId id="2147483896" r:id="rId11"/>
  </p:sldLayoutIdLst>
  <p:txStyles>
    <p:titleStyle>
      <a:lvl1pPr algn="l" defTabSz="913951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487" indent="-228487" algn="l" defTabSz="91395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462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438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413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388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364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39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312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87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5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51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26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900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75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51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25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800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1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187080" y="3012392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291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01" r:id="rId4"/>
    <p:sldLayoutId id="2147483902" r:id="rId5"/>
    <p:sldLayoutId id="2147483903" r:id="rId6"/>
    <p:sldLayoutId id="2147483904" r:id="rId7"/>
    <p:sldLayoutId id="2147483905" r:id="rId8"/>
    <p:sldLayoutId id="2147483906" r:id="rId9"/>
    <p:sldLayoutId id="2147483907" r:id="rId10"/>
    <p:sldLayoutId id="2147483908" r:id="rId11"/>
    <p:sldLayoutId id="2147483909" r:id="rId12"/>
    <p:sldLayoutId id="2147483910" r:id="rId13"/>
    <p:sldLayoutId id="2147483911" r:id="rId14"/>
    <p:sldLayoutId id="2147483912" r:id="rId15"/>
    <p:sldLayoutId id="2147483913" r:id="rId16"/>
    <p:sldLayoutId id="2147483914" r:id="rId17"/>
    <p:sldLayoutId id="2147483915" r:id="rId18"/>
  </p:sldLayoutIdLst>
  <p:transition>
    <p:fade/>
  </p:transition>
  <p:txStyles>
    <p:titleStyle>
      <a:lvl1pPr algn="l" defTabSz="914093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30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059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088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117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147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755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01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48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95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7046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4093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1139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8185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5232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2278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99324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6372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1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 rot="5400000">
            <a:off x="9208749" y="2991035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268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918" r:id="rId2"/>
    <p:sldLayoutId id="2147483919" r:id="rId3"/>
    <p:sldLayoutId id="2147483920" r:id="rId4"/>
    <p:sldLayoutId id="2147483921" r:id="rId5"/>
    <p:sldLayoutId id="2147483922" r:id="rId6"/>
    <p:sldLayoutId id="2147483923" r:id="rId7"/>
    <p:sldLayoutId id="2147483924" r:id="rId8"/>
    <p:sldLayoutId id="2147483925" r:id="rId9"/>
    <p:sldLayoutId id="2147483926" r:id="rId10"/>
    <p:sldLayoutId id="2147483927" r:id="rId11"/>
    <p:sldLayoutId id="2147483928" r:id="rId12"/>
    <p:sldLayoutId id="2147483929" r:id="rId13"/>
    <p:sldLayoutId id="2147483930" r:id="rId14"/>
    <p:sldLayoutId id="2147483931" r:id="rId15"/>
    <p:sldLayoutId id="2147483932" r:id="rId16"/>
    <p:sldLayoutId id="2147483933" r:id="rId17"/>
    <p:sldLayoutId id="2147483934" r:id="rId18"/>
    <p:sldLayoutId id="2147483935" r:id="rId19"/>
  </p:sldLayoutIdLst>
  <p:transition>
    <p:fade/>
  </p:transition>
  <p:txStyles>
    <p:titleStyle>
      <a:lvl1pPr algn="l" defTabSz="914093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44" marR="0" indent="-336044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19" marR="0" indent="-236475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03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132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161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755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01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48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95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7046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4093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1139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8185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5232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2278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99324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6372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1" y="289514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9" y="2991036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6813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38" r:id="rId2"/>
    <p:sldLayoutId id="2147483939" r:id="rId3"/>
    <p:sldLayoutId id="2147483940" r:id="rId4"/>
    <p:sldLayoutId id="2147483941" r:id="rId5"/>
    <p:sldLayoutId id="2147483942" r:id="rId6"/>
    <p:sldLayoutId id="2147483943" r:id="rId7"/>
    <p:sldLayoutId id="2147483944" r:id="rId8"/>
  </p:sldLayoutIdLst>
  <p:transition>
    <p:fade/>
  </p:transition>
  <p:txStyles>
    <p:titleStyle>
      <a:lvl1pPr algn="l" defTabSz="913918" rtl="0" eaLnBrk="1" latinLnBrk="0" hangingPunct="1">
        <a:lnSpc>
          <a:spcPct val="90000"/>
        </a:lnSpc>
        <a:spcBef>
          <a:spcPct val="0"/>
        </a:spcBef>
        <a:buNone/>
        <a:defRPr lang="en-US" sz="470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5979" marR="0" indent="-335979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72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1pPr>
      <a:lvl2pPr marL="572409" marR="0" indent="-236429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2pPr>
      <a:lvl3pPr marL="783952" marR="0" indent="-223987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3pPr>
      <a:lvl4pPr marL="1007939" marR="0" indent="-223987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4pPr>
      <a:lvl5pPr marL="1231924" marR="0" indent="-223987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5pPr>
      <a:lvl6pPr marL="2513272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70232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427191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84149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6958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3918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0876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7834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4793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1752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98710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5670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0C9B1B5-B09F-4B98-AFC2-1B4B55BE018E}"/>
              </a:ext>
            </a:extLst>
          </p:cNvPr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 rot="5400000">
            <a:off x="9044629" y="3216843"/>
            <a:ext cx="6858000" cy="42431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6424" y="224112"/>
            <a:ext cx="11336039" cy="744014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37319" y="1110106"/>
            <a:ext cx="11336039" cy="20319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755482" y="3012080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2028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  <p:sldLayoutId id="2147483966" r:id="rId5"/>
    <p:sldLayoutId id="2147483967" r:id="rId6"/>
    <p:sldLayoutId id="2147483968" r:id="rId7"/>
    <p:sldLayoutId id="2147483969" r:id="rId8"/>
    <p:sldLayoutId id="2147483970" r:id="rId9"/>
    <p:sldLayoutId id="2147483971" r:id="rId10"/>
    <p:sldLayoutId id="2147483972" r:id="rId11"/>
    <p:sldLayoutId id="2147483973" r:id="rId12"/>
    <p:sldLayoutId id="2147483974" r:id="rId13"/>
    <p:sldLayoutId id="2147483975" r:id="rId14"/>
    <p:sldLayoutId id="2147483976" r:id="rId15"/>
    <p:sldLayoutId id="2147483977" r:id="rId16"/>
    <p:sldLayoutId id="2147483978" r:id="rId17"/>
    <p:sldLayoutId id="2147483979" r:id="rId18"/>
    <p:sldLayoutId id="2147483980" r:id="rId19"/>
    <p:sldLayoutId id="2147483981" r:id="rId20"/>
    <p:sldLayoutId id="2147483982" r:id="rId21"/>
    <p:sldLayoutId id="2147483983" r:id="rId22"/>
    <p:sldLayoutId id="2147483984" r:id="rId23"/>
    <p:sldLayoutId id="2147483985" r:id="rId24"/>
    <p:sldLayoutId id="2147483986" r:id="rId25"/>
    <p:sldLayoutId id="2147483987" r:id="rId26"/>
    <p:sldLayoutId id="2147483988" r:id="rId27"/>
    <p:sldLayoutId id="2147483989" r:id="rId28"/>
    <p:sldLayoutId id="2147483990" r:id="rId29"/>
    <p:sldLayoutId id="2147483991" r:id="rId30"/>
  </p:sldLayoutIdLst>
  <p:transition>
    <p:fade/>
  </p:transition>
  <p:hf sldNum="0" hd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3529" b="0" kern="1200" cap="none" spc="-147" baseline="0" dirty="0" smtClean="0">
          <a:ln w="3175">
            <a:noFill/>
          </a:ln>
          <a:solidFill>
            <a:schemeClr val="tx2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2745" kern="1200" spc="0" baseline="0">
          <a:solidFill>
            <a:srgbClr val="000000"/>
          </a:solidFill>
          <a:latin typeface="+mn-lt"/>
          <a:ea typeface="+mn-ea"/>
          <a:cs typeface="+mn-cs"/>
        </a:defRPr>
      </a:lvl1pPr>
      <a:lvl2pPr marL="224097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1765" kern="1200" spc="0" baseline="0">
          <a:solidFill>
            <a:srgbClr val="000000"/>
          </a:solidFill>
          <a:latin typeface="+mn-lt"/>
          <a:ea typeface="+mn-ea"/>
          <a:cs typeface="+mn-cs"/>
        </a:defRPr>
      </a:lvl2pPr>
      <a:lvl3pPr marL="448193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1372" kern="1200" spc="0" baseline="0">
          <a:solidFill>
            <a:srgbClr val="000000"/>
          </a:solidFill>
          <a:latin typeface="+mn-lt"/>
          <a:ea typeface="+mn-ea"/>
          <a:cs typeface="+mn-cs"/>
        </a:defRPr>
      </a:lvl3pPr>
      <a:lvl4pPr marL="67229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1372" kern="1200" spc="0" baseline="0">
          <a:solidFill>
            <a:srgbClr val="000000"/>
          </a:solidFill>
          <a:latin typeface="+mn-lt"/>
          <a:ea typeface="+mn-ea"/>
          <a:cs typeface="+mn-cs"/>
        </a:defRPr>
      </a:lvl4pPr>
      <a:lvl5pPr marL="896386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1372" kern="1200" spc="0" baseline="0">
          <a:solidFill>
            <a:srgbClr val="000000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1373">
          <p15:clr>
            <a:srgbClr val="C35EA4"/>
          </p15:clr>
        </p15:guide>
        <p15:guide id="4" pos="1517">
          <p15:clr>
            <a:srgbClr val="C35EA4"/>
          </p15:clr>
        </p15:guide>
        <p15:guide id="5" pos="2608">
          <p15:clr>
            <a:srgbClr val="C35EA4"/>
          </p15:clr>
        </p15:guide>
        <p15:guide id="6" pos="2751">
          <p15:clr>
            <a:srgbClr val="C35EA4"/>
          </p15:clr>
        </p15:guide>
        <p15:guide id="7" pos="3844">
          <p15:clr>
            <a:srgbClr val="C35EA4"/>
          </p15:clr>
        </p15:guide>
        <p15:guide id="8" pos="3989">
          <p15:clr>
            <a:srgbClr val="C35EA4"/>
          </p15:clr>
        </p15:guide>
        <p15:guide id="9" pos="5079">
          <p15:clr>
            <a:srgbClr val="C35EA4"/>
          </p15:clr>
        </p15:guide>
        <p15:guide id="10" pos="5222">
          <p15:clr>
            <a:srgbClr val="C35EA4"/>
          </p15:clr>
        </p15:guide>
        <p15:guide id="11" pos="6317">
          <p15:clr>
            <a:srgbClr val="C35EA4"/>
          </p15:clr>
        </p15:guide>
        <p15:guide id="12" pos="6460">
          <p15:clr>
            <a:srgbClr val="C35EA4"/>
          </p15:clr>
        </p15:guide>
        <p15:guide id="16" pos="274">
          <p15:clr>
            <a:srgbClr val="F26B43"/>
          </p15:clr>
        </p15:guide>
        <p15:guide id="17" pos="7558">
          <p15:clr>
            <a:srgbClr val="F26B43"/>
          </p15:clr>
        </p15:guide>
        <p15:guide id="18" orient="horz" pos="758">
          <p15:clr>
            <a:srgbClr val="5ACBF0"/>
          </p15:clr>
        </p15:guide>
        <p15:guide id="19" orient="horz" pos="1372">
          <p15:clr>
            <a:srgbClr val="5ACBF0"/>
          </p15:clr>
        </p15:guide>
        <p15:guide id="20" orient="horz" pos="612">
          <p15:clr>
            <a:srgbClr val="5ACBF0"/>
          </p15:clr>
        </p15:guide>
        <p15:guide id="21" orient="horz" pos="1515">
          <p15:clr>
            <a:srgbClr val="5ACBF0"/>
          </p15:clr>
        </p15:guide>
        <p15:guide id="22" orient="horz" pos="2127">
          <p15:clr>
            <a:srgbClr val="5ACBF0"/>
          </p15:clr>
        </p15:guide>
        <p15:guide id="23" orient="horz" pos="2275">
          <p15:clr>
            <a:srgbClr val="5ACBF0"/>
          </p15:clr>
        </p15:guide>
        <p15:guide id="25" orient="horz" pos="280">
          <p15:clr>
            <a:srgbClr val="F26B43"/>
          </p15:clr>
        </p15:guide>
        <p15:guide id="26" orient="horz" pos="4127">
          <p15:clr>
            <a:srgbClr val="F26B43"/>
          </p15:clr>
        </p15:guide>
        <p15:guide id="27" orient="horz" pos="2889">
          <p15:clr>
            <a:srgbClr val="5ACBF0"/>
          </p15:clr>
        </p15:guide>
        <p15:guide id="28" orient="horz" pos="3032">
          <p15:clr>
            <a:srgbClr val="5ACBF0"/>
          </p15:clr>
        </p15:guide>
        <p15:guide id="29" orient="horz" pos="3648">
          <p15:clr>
            <a:srgbClr val="5ACBF0"/>
          </p15:clr>
        </p15:guide>
        <p15:guide id="30" orient="horz" pos="3792">
          <p15:clr>
            <a:srgbClr val="5ACBF0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9681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3" r:id="rId1"/>
    <p:sldLayoutId id="2147483994" r:id="rId2"/>
    <p:sldLayoutId id="2147483995" r:id="rId3"/>
    <p:sldLayoutId id="2147483996" r:id="rId4"/>
    <p:sldLayoutId id="2147483997" r:id="rId5"/>
    <p:sldLayoutId id="2147483998" r:id="rId6"/>
    <p:sldLayoutId id="2147483999" r:id="rId7"/>
    <p:sldLayoutId id="2147484000" r:id="rId8"/>
    <p:sldLayoutId id="2147484001" r:id="rId9"/>
    <p:sldLayoutId id="2147484002" r:id="rId10"/>
    <p:sldLayoutId id="2147484003" r:id="rId11"/>
    <p:sldLayoutId id="2147484004" r:id="rId12"/>
    <p:sldLayoutId id="2147484005" r:id="rId13"/>
    <p:sldLayoutId id="2147484006" r:id="rId14"/>
    <p:sldLayoutId id="2147484007" r:id="rId15"/>
    <p:sldLayoutId id="2147484008" r:id="rId16"/>
    <p:sldLayoutId id="2147484009" r:id="rId17"/>
    <p:sldLayoutId id="2147484010" r:id="rId18"/>
    <p:sldLayoutId id="2147484011" r:id="rId19"/>
    <p:sldLayoutId id="2147484012" r:id="rId20"/>
    <p:sldLayoutId id="2147484013" r:id="rId21"/>
    <p:sldLayoutId id="2147484014" r:id="rId22"/>
    <p:sldLayoutId id="2147484015" r:id="rId23"/>
    <p:sldLayoutId id="2147484016" r:id="rId24"/>
    <p:sldLayoutId id="2147484017" r:id="rId25"/>
    <p:sldLayoutId id="2147484018" r:id="rId26"/>
    <p:sldLayoutId id="2147484019" r:id="rId27"/>
    <p:sldLayoutId id="2147484020" r:id="rId28"/>
    <p:sldLayoutId id="2147484021" r:id="rId29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547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3" r:id="rId1"/>
    <p:sldLayoutId id="2147484024" r:id="rId2"/>
    <p:sldLayoutId id="2147484025" r:id="rId3"/>
    <p:sldLayoutId id="2147484026" r:id="rId4"/>
    <p:sldLayoutId id="2147484027" r:id="rId5"/>
    <p:sldLayoutId id="2147484028" r:id="rId6"/>
    <p:sldLayoutId id="2147484029" r:id="rId7"/>
    <p:sldLayoutId id="2147484030" r:id="rId8"/>
    <p:sldLayoutId id="2147484031" r:id="rId9"/>
    <p:sldLayoutId id="2147484032" r:id="rId10"/>
    <p:sldLayoutId id="2147484033" r:id="rId11"/>
    <p:sldLayoutId id="2147484034" r:id="rId12"/>
    <p:sldLayoutId id="2147484035" r:id="rId13"/>
    <p:sldLayoutId id="2147484036" r:id="rId14"/>
    <p:sldLayoutId id="2147484037" r:id="rId15"/>
    <p:sldLayoutId id="2147484038" r:id="rId16"/>
    <p:sldLayoutId id="2147484039" r:id="rId17"/>
    <p:sldLayoutId id="2147484040" r:id="rId18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2E8575F-D8DD-42A5-9FE8-047E715E59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C2D88A-0007-4284-9A51-F813D08A12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A36CD1-394F-46E4-B462-1E5100C0BC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84B1DD-D6C5-4790-BA5B-E6C4876836FA}" type="datetimeFigureOut">
              <a:rPr lang="en-IN" smtClean="0"/>
              <a:t>25-09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061F6F-A9D0-46B0-9303-8E37BDCED2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E92A38-181F-4875-A52E-2B08968042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99312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2" r:id="rId1"/>
    <p:sldLayoutId id="2147484043" r:id="rId2"/>
    <p:sldLayoutId id="2147484044" r:id="rId3"/>
    <p:sldLayoutId id="2147484045" r:id="rId4"/>
    <p:sldLayoutId id="2147484046" r:id="rId5"/>
    <p:sldLayoutId id="2147484047" r:id="rId6"/>
    <p:sldLayoutId id="2147484048" r:id="rId7"/>
    <p:sldLayoutId id="2147484049" r:id="rId8"/>
    <p:sldLayoutId id="2147484050" r:id="rId9"/>
    <p:sldLayoutId id="2147484051" r:id="rId10"/>
    <p:sldLayoutId id="2147484052" r:id="rId11"/>
    <p:sldLayoutId id="2147484053" r:id="rId12"/>
    <p:sldLayoutId id="2147484054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4466" y="334170"/>
            <a:ext cx="11573621" cy="89255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466" y="1794669"/>
            <a:ext cx="11573621" cy="36096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59289" y="2932714"/>
            <a:ext cx="6724751" cy="859326"/>
          </a:xfrm>
          <a:prstGeom prst="rect">
            <a:avLst/>
          </a:prstGeom>
        </p:spPr>
      </p:pic>
      <p:pic>
        <p:nvPicPr>
          <p:cNvPr id="8" name="Picture 7" descr="https://upload.wikimedia.org/wikipedia/commons/thumb/9/96/Microsoft_logo_(2012).svg/2000px-Microsoft_logo_(2012).svg.png"/>
          <p:cNvPicPr/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954982" y="-401215"/>
            <a:ext cx="1143000" cy="24638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83684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4" r:id="rId14"/>
  </p:sldLayoutIdLst>
  <p:txStyles>
    <p:titleStyle>
      <a:lvl1pPr algn="l" defTabSz="914225" rtl="0" eaLnBrk="1" latinLnBrk="0" hangingPunct="1">
        <a:lnSpc>
          <a:spcPct val="90000"/>
        </a:lnSpc>
        <a:spcBef>
          <a:spcPct val="0"/>
        </a:spcBef>
        <a:buNone/>
        <a:defRPr sz="5399" kern="1200">
          <a:solidFill>
            <a:schemeClr val="bg1"/>
          </a:solidFill>
          <a:latin typeface="Segoe UI Light" panose="020B0502040204020203" pitchFamily="34" charset="0"/>
          <a:ea typeface="+mj-ea"/>
          <a:cs typeface="Segoe UI Light" panose="020B0502040204020203" pitchFamily="34" charset="0"/>
        </a:defRPr>
      </a:lvl1pPr>
    </p:titleStyle>
    <p:bodyStyle>
      <a:lvl1pPr marL="228556" indent="-228556" algn="l" defTabSz="914225" rtl="0" eaLnBrk="1" latinLnBrk="0" hangingPunct="1">
        <a:lnSpc>
          <a:spcPct val="90000"/>
        </a:lnSpc>
        <a:spcBef>
          <a:spcPts val="1000"/>
        </a:spcBef>
        <a:buClr>
          <a:schemeClr val="bg2"/>
        </a:buClr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668" indent="-228556" algn="l" defTabSz="914225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2781" indent="-228556" algn="l" defTabSz="914225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599893" indent="-228556" algn="l" defTabSz="914225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005" indent="-228556" algn="l" defTabSz="914225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118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30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41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53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2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5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37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49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61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74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85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97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469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558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20" r:id="rId5"/>
    <p:sldLayoutId id="2147483723" r:id="rId6"/>
    <p:sldLayoutId id="2147483724" r:id="rId7"/>
    <p:sldLayoutId id="2147483757" r:id="rId8"/>
    <p:sldLayoutId id="2147483758" r:id="rId9"/>
    <p:sldLayoutId id="2147483817" r:id="rId10"/>
    <p:sldLayoutId id="2147483818" r:id="rId11"/>
    <p:sldLayoutId id="2147483819" r:id="rId12"/>
    <p:sldLayoutId id="2147483820" r:id="rId13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72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9"/>
            <a:ext cx="11653521" cy="164464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325052" y="1906414"/>
            <a:ext cx="4214127" cy="401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9000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  <p:sldLayoutId id="2147483740" r:id="rId15"/>
    <p:sldLayoutId id="2147483741" r:id="rId16"/>
    <p:sldLayoutId id="2147483742" r:id="rId17"/>
    <p:sldLayoutId id="2147483743" r:id="rId18"/>
    <p:sldLayoutId id="2147483744" r:id="rId19"/>
    <p:sldLayoutId id="2147483745" r:id="rId20"/>
    <p:sldLayoutId id="2147483746" r:id="rId21"/>
    <p:sldLayoutId id="2147483747" r:id="rId22"/>
    <p:sldLayoutId id="2147483748" r:id="rId23"/>
    <p:sldLayoutId id="2147483749" r:id="rId24"/>
    <p:sldLayoutId id="2147483750" r:id="rId25"/>
    <p:sldLayoutId id="2147483751" r:id="rId26"/>
    <p:sldLayoutId id="2147483752" r:id="rId27"/>
    <p:sldLayoutId id="2147483753" r:id="rId28"/>
    <p:sldLayoutId id="2147483754" r:id="rId29"/>
    <p:sldLayoutId id="2147483755" r:id="rId30"/>
    <p:sldLayoutId id="2147483814" r:id="rId31"/>
    <p:sldLayoutId id="2147483815" r:id="rId32"/>
    <p:sldLayoutId id="2147483816" r:id="rId33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312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13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56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37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37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357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  <p:sldLayoutId id="2147483775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198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  <p:sldLayoutId id="2147483806" r:id="rId12"/>
    <p:sldLayoutId id="2147483807" r:id="rId13"/>
    <p:sldLayoutId id="2147483808" r:id="rId14"/>
    <p:sldLayoutId id="2147483809" r:id="rId15"/>
    <p:sldLayoutId id="2147483810" r:id="rId16"/>
    <p:sldLayoutId id="2147483811" r:id="rId17"/>
    <p:sldLayoutId id="2147483812" r:id="rId18"/>
    <p:sldLayoutId id="2147483813" r:id="rId19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1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7080" y="3012392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425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  <p:sldLayoutId id="2147483834" r:id="rId12"/>
    <p:sldLayoutId id="2147483835" r:id="rId13"/>
    <p:sldLayoutId id="2147483836" r:id="rId14"/>
    <p:sldLayoutId id="2147483837" r:id="rId15"/>
    <p:sldLayoutId id="2147483838" r:id="rId16"/>
    <p:sldLayoutId id="2147483839" r:id="rId17"/>
    <p:sldLayoutId id="2147483840" r:id="rId18"/>
    <p:sldLayoutId id="2147483841" r:id="rId19"/>
    <p:sldLayoutId id="2147483842" r:id="rId20"/>
    <p:sldLayoutId id="2147483843" r:id="rId21"/>
  </p:sldLayoutIdLst>
  <p:transition>
    <p:fade/>
  </p:transition>
  <p:txStyles>
    <p:titleStyle>
      <a:lvl1pPr algn="l" defTabSz="914093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30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059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088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117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147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755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01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48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95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7046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4093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1139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8185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5232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2278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99324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6372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4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1" y="1435505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 rot="5400000">
            <a:off x="9288988" y="2942645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1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46266" rIns="182832" bIns="1462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46266" rIns="182832" bIns="1462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6946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2" r:id="rId18"/>
    <p:sldLayoutId id="2147483863" r:id="rId19"/>
    <p:sldLayoutId id="2147483864" r:id="rId20"/>
    <p:sldLayoutId id="2147483865" r:id="rId21"/>
    <p:sldLayoutId id="2147483866" r:id="rId22"/>
    <p:sldLayoutId id="2147483867" r:id="rId23"/>
    <p:sldLayoutId id="2147483868" r:id="rId24"/>
    <p:sldLayoutId id="2147483869" r:id="rId25"/>
    <p:sldLayoutId id="2147483870" r:id="rId26"/>
    <p:sldLayoutId id="2147483871" r:id="rId27"/>
    <p:sldLayoutId id="2147483872" r:id="rId28"/>
  </p:sldLayoutIdLst>
  <p:transition>
    <p:fade/>
  </p:transition>
  <p:hf sldNum="0" hdr="0" ftr="0" dt="0"/>
  <p:txStyles>
    <p:titleStyle>
      <a:lvl1pPr algn="l" defTabSz="932462" rtl="0" eaLnBrk="1" latinLnBrk="0" hangingPunct="1">
        <a:lnSpc>
          <a:spcPct val="100000"/>
        </a:lnSpc>
        <a:spcBef>
          <a:spcPct val="0"/>
        </a:spcBef>
        <a:buNone/>
        <a:defRPr lang="en-US" sz="3599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531" marR="0" indent="-228531" algn="l" defTabSz="93246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063" marR="0" indent="-228531" algn="l" defTabSz="93246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028" marR="0" indent="-199965" algn="l" defTabSz="93246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710" marR="0" indent="-180921" algn="l" defTabSz="93246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631" marR="0" indent="-168225" algn="l" defTabSz="93246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270" indent="-233116" algn="l" defTabSz="932462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3030503" indent="-233116" algn="l" defTabSz="932462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96734" indent="-233116" algn="l" defTabSz="932462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962966" indent="-233116" algn="l" defTabSz="932462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66231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32462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98693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64924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331156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97387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263618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729850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openxmlformats.org/officeDocument/2006/relationships/image" Target="../media/image82.jpg"/><Relationship Id="rId18" Type="http://schemas.openxmlformats.org/officeDocument/2006/relationships/image" Target="../media/image87.jpeg"/><Relationship Id="rId3" Type="http://schemas.openxmlformats.org/officeDocument/2006/relationships/image" Target="../media/image50.emf"/><Relationship Id="rId7" Type="http://schemas.openxmlformats.org/officeDocument/2006/relationships/image" Target="../media/image76.svg"/><Relationship Id="rId12" Type="http://schemas.openxmlformats.org/officeDocument/2006/relationships/image" Target="../media/image81.jpeg"/><Relationship Id="rId17" Type="http://schemas.openxmlformats.org/officeDocument/2006/relationships/image" Target="../media/image86.jpeg"/><Relationship Id="rId2" Type="http://schemas.openxmlformats.org/officeDocument/2006/relationships/image" Target="../media/image72.png"/><Relationship Id="rId16" Type="http://schemas.openxmlformats.org/officeDocument/2006/relationships/image" Target="../media/image85.jpeg"/><Relationship Id="rId1" Type="http://schemas.openxmlformats.org/officeDocument/2006/relationships/slideLayout" Target="../slideLayouts/slideLayout314.xml"/><Relationship Id="rId6" Type="http://schemas.openxmlformats.org/officeDocument/2006/relationships/image" Target="../media/image75.png"/><Relationship Id="rId11" Type="http://schemas.openxmlformats.org/officeDocument/2006/relationships/image" Target="../media/image80.png"/><Relationship Id="rId5" Type="http://schemas.openxmlformats.org/officeDocument/2006/relationships/image" Target="../media/image74.svg"/><Relationship Id="rId15" Type="http://schemas.openxmlformats.org/officeDocument/2006/relationships/image" Target="../media/image84.jpeg"/><Relationship Id="rId10" Type="http://schemas.openxmlformats.org/officeDocument/2006/relationships/image" Target="../media/image79.jpeg"/><Relationship Id="rId19" Type="http://schemas.openxmlformats.org/officeDocument/2006/relationships/image" Target="../media/image88.jpeg"/><Relationship Id="rId4" Type="http://schemas.openxmlformats.org/officeDocument/2006/relationships/image" Target="../media/image73.png"/><Relationship Id="rId9" Type="http://schemas.openxmlformats.org/officeDocument/2006/relationships/image" Target="../media/image78.jpeg"/><Relationship Id="rId14" Type="http://schemas.openxmlformats.org/officeDocument/2006/relationships/image" Target="../media/image8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8.xml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3" Type="http://schemas.openxmlformats.org/officeDocument/2006/relationships/image" Target="../media/image92.png"/><Relationship Id="rId7" Type="http://schemas.openxmlformats.org/officeDocument/2006/relationships/image" Target="../media/image9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4.xml"/><Relationship Id="rId6" Type="http://schemas.openxmlformats.org/officeDocument/2006/relationships/image" Target="../media/image95.png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10.xml"/><Relationship Id="rId4" Type="http://schemas.openxmlformats.org/officeDocument/2006/relationships/image" Target="../media/image9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svg"/><Relationship Id="rId3" Type="http://schemas.openxmlformats.org/officeDocument/2006/relationships/image" Target="../media/image98.emf"/><Relationship Id="rId7" Type="http://schemas.openxmlformats.org/officeDocument/2006/relationships/image" Target="../media/image7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10.xml"/><Relationship Id="rId6" Type="http://schemas.openxmlformats.org/officeDocument/2006/relationships/image" Target="../media/image74.svg"/><Relationship Id="rId5" Type="http://schemas.openxmlformats.org/officeDocument/2006/relationships/image" Target="../media/image100.png"/><Relationship Id="rId4" Type="http://schemas.openxmlformats.org/officeDocument/2006/relationships/image" Target="../media/image50.emf"/><Relationship Id="rId9" Type="http://schemas.openxmlformats.org/officeDocument/2006/relationships/image" Target="../media/image10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data-factory/connector-azure-sql-data-warehouse#use-polybase-to-load-data-into-azure-sql-data-warehouse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8.xml"/><Relationship Id="rId5" Type="http://schemas.openxmlformats.org/officeDocument/2006/relationships/image" Target="../media/image103.png"/><Relationship Id="rId4" Type="http://schemas.openxmlformats.org/officeDocument/2006/relationships/image" Target="../media/image10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gallery.technet.microsoft.com/Overview-of-Azure-c1be3942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2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emf"/><Relationship Id="rId13" Type="http://schemas.openxmlformats.org/officeDocument/2006/relationships/image" Target="../media/image113.emf"/><Relationship Id="rId3" Type="http://schemas.openxmlformats.org/officeDocument/2006/relationships/image" Target="../media/image104.emf"/><Relationship Id="rId7" Type="http://schemas.openxmlformats.org/officeDocument/2006/relationships/image" Target="../media/image108.emf"/><Relationship Id="rId12" Type="http://schemas.openxmlformats.org/officeDocument/2006/relationships/image" Target="../media/image112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9.xml"/><Relationship Id="rId6" Type="http://schemas.openxmlformats.org/officeDocument/2006/relationships/image" Target="../media/image107.emf"/><Relationship Id="rId11" Type="http://schemas.openxmlformats.org/officeDocument/2006/relationships/image" Target="../media/image111.emf"/><Relationship Id="rId5" Type="http://schemas.openxmlformats.org/officeDocument/2006/relationships/image" Target="../media/image106.emf"/><Relationship Id="rId15" Type="http://schemas.openxmlformats.org/officeDocument/2006/relationships/image" Target="../media/image93.png"/><Relationship Id="rId10" Type="http://schemas.openxmlformats.org/officeDocument/2006/relationships/image" Target="../media/image110.emf"/><Relationship Id="rId4" Type="http://schemas.openxmlformats.org/officeDocument/2006/relationships/image" Target="../media/image105.emf"/><Relationship Id="rId9" Type="http://schemas.openxmlformats.org/officeDocument/2006/relationships/image" Target="../media/image98.emf"/><Relationship Id="rId14" Type="http://schemas.openxmlformats.org/officeDocument/2006/relationships/image" Target="../media/image92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3.emf"/><Relationship Id="rId13" Type="http://schemas.openxmlformats.org/officeDocument/2006/relationships/image" Target="../media/image98.emf"/><Relationship Id="rId18" Type="http://schemas.openxmlformats.org/officeDocument/2006/relationships/image" Target="../media/image92.png"/><Relationship Id="rId3" Type="http://schemas.openxmlformats.org/officeDocument/2006/relationships/image" Target="../media/image104.emf"/><Relationship Id="rId7" Type="http://schemas.openxmlformats.org/officeDocument/2006/relationships/image" Target="../media/image101.emf"/><Relationship Id="rId12" Type="http://schemas.openxmlformats.org/officeDocument/2006/relationships/image" Target="../media/image109.emf"/><Relationship Id="rId17" Type="http://schemas.openxmlformats.org/officeDocument/2006/relationships/image" Target="../media/image93.png"/><Relationship Id="rId2" Type="http://schemas.openxmlformats.org/officeDocument/2006/relationships/notesSlide" Target="../notesSlides/notesSlide18.xml"/><Relationship Id="rId16" Type="http://schemas.openxmlformats.org/officeDocument/2006/relationships/image" Target="../media/image116.emf"/><Relationship Id="rId1" Type="http://schemas.openxmlformats.org/officeDocument/2006/relationships/slideLayout" Target="../slideLayouts/slideLayout129.xml"/><Relationship Id="rId6" Type="http://schemas.openxmlformats.org/officeDocument/2006/relationships/image" Target="../media/image114.emf"/><Relationship Id="rId11" Type="http://schemas.openxmlformats.org/officeDocument/2006/relationships/image" Target="../media/image108.emf"/><Relationship Id="rId5" Type="http://schemas.openxmlformats.org/officeDocument/2006/relationships/image" Target="../media/image106.emf"/><Relationship Id="rId15" Type="http://schemas.openxmlformats.org/officeDocument/2006/relationships/image" Target="../media/image111.emf"/><Relationship Id="rId10" Type="http://schemas.openxmlformats.org/officeDocument/2006/relationships/image" Target="../media/image107.emf"/><Relationship Id="rId4" Type="http://schemas.openxmlformats.org/officeDocument/2006/relationships/image" Target="../media/image105.emf"/><Relationship Id="rId9" Type="http://schemas.openxmlformats.org/officeDocument/2006/relationships/image" Target="../media/image115.emf"/><Relationship Id="rId14" Type="http://schemas.openxmlformats.org/officeDocument/2006/relationships/image" Target="../media/image110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5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32.xml"/><Relationship Id="rId5" Type="http://schemas.openxmlformats.org/officeDocument/2006/relationships/image" Target="../media/image120.png"/><Relationship Id="rId4" Type="http://schemas.openxmlformats.org/officeDocument/2006/relationships/image" Target="../media/image11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9.xml"/><Relationship Id="rId4" Type="http://schemas.openxmlformats.org/officeDocument/2006/relationships/image" Target="../media/image12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image" Target="../media/image124.jpg"/><Relationship Id="rId1" Type="http://schemas.openxmlformats.org/officeDocument/2006/relationships/slideLayout" Target="../slideLayouts/slideLayout5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5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6.tmp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na01.safelinks.protection.outlook.com/?url=https%3A%2F%2Fforms.office.com%2FPages%2FResponsePage.aspx%3Fid%3Dv4j5cvGGr0GRqy180BHbR9g5Y0-A-41OqCZJR9k5fl5UNlJUVk1VTDA4OTE4WFBUNUxESUFWSTNORi4u&amp;data=02%7C01%7Cqingyue.wang%40microsoft.com%7C3bcec7f72fcf41bd838408d6884df87f%7C72f988bf86f141af91ab2d7cd011db47%7C1%7C0%7C636846265816090789&amp;sdata=8C7t%2FBiNgzeGPI22RDKVmVZi2T3CUPeTaPWvccTqjBU%3D&amp;reserved=0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1.xml"/><Relationship Id="rId5" Type="http://schemas.openxmlformats.org/officeDocument/2006/relationships/image" Target="../media/image50.emf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1.xml"/><Relationship Id="rId4" Type="http://schemas.openxmlformats.org/officeDocument/2006/relationships/image" Target="../media/image5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54.png"/><Relationship Id="rId7" Type="http://schemas.openxmlformats.org/officeDocument/2006/relationships/image" Target="../media/image58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96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10" Type="http://schemas.openxmlformats.org/officeDocument/2006/relationships/image" Target="../media/image61.png"/><Relationship Id="rId4" Type="http://schemas.openxmlformats.org/officeDocument/2006/relationships/image" Target="../media/image55.png"/><Relationship Id="rId9" Type="http://schemas.openxmlformats.org/officeDocument/2006/relationships/image" Target="../media/image6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svg"/><Relationship Id="rId3" Type="http://schemas.openxmlformats.org/officeDocument/2006/relationships/image" Target="../media/image62.png"/><Relationship Id="rId7" Type="http://schemas.openxmlformats.org/officeDocument/2006/relationships/image" Target="../media/image66.png"/><Relationship Id="rId12" Type="http://schemas.openxmlformats.org/officeDocument/2006/relationships/image" Target="../media/image71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65.svg"/><Relationship Id="rId11" Type="http://schemas.openxmlformats.org/officeDocument/2006/relationships/image" Target="../media/image70.png"/><Relationship Id="rId5" Type="http://schemas.openxmlformats.org/officeDocument/2006/relationships/image" Target="../media/image64.png"/><Relationship Id="rId10" Type="http://schemas.openxmlformats.org/officeDocument/2006/relationships/image" Target="../media/image69.svg"/><Relationship Id="rId4" Type="http://schemas.openxmlformats.org/officeDocument/2006/relationships/image" Target="../media/image63.svg"/><Relationship Id="rId9" Type="http://schemas.openxmlformats.org/officeDocument/2006/relationships/image" Target="../media/image6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0277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42B4B5BD-5D8E-4F06-87B6-19D6E846C076}"/>
              </a:ext>
            </a:extLst>
          </p:cNvPr>
          <p:cNvSpPr/>
          <p:nvPr/>
        </p:nvSpPr>
        <p:spPr bwMode="auto">
          <a:xfrm>
            <a:off x="5434592" y="4248784"/>
            <a:ext cx="2641466" cy="2492237"/>
          </a:xfrm>
          <a:prstGeom prst="roundRect">
            <a:avLst/>
          </a:prstGeom>
          <a:solidFill>
            <a:schemeClr val="bg1"/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1" i="0" u="none" strike="noStrike" kern="0" cap="none" spc="0" normalizeH="0" baseline="0" noProof="0">
              <a:ln>
                <a:noFill/>
              </a:ln>
              <a:solidFill>
                <a:srgbClr val="404040">
                  <a:lumMod val="75000"/>
                </a:srgbClr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0" name="Freeform 5">
            <a:extLst>
              <a:ext uri="{FF2B5EF4-FFF2-40B4-BE49-F238E27FC236}">
                <a16:creationId xmlns:a16="http://schemas.microsoft.com/office/drawing/2014/main" id="{8DAA641D-66AF-48AF-BEF1-BD5E3652492F}"/>
              </a:ext>
            </a:extLst>
          </p:cNvPr>
          <p:cNvSpPr>
            <a:spLocks noChangeAspect="1"/>
          </p:cNvSpPr>
          <p:nvPr/>
        </p:nvSpPr>
        <p:spPr bwMode="black">
          <a:xfrm>
            <a:off x="8943798" y="5599953"/>
            <a:ext cx="3066301" cy="1216973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70" tIns="60935" rIns="121870" bIns="6093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2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2" name="Freeform 5">
            <a:extLst>
              <a:ext uri="{FF2B5EF4-FFF2-40B4-BE49-F238E27FC236}">
                <a16:creationId xmlns:a16="http://schemas.microsoft.com/office/drawing/2014/main" id="{C94DB16D-BD12-474E-91F7-2B08993B681F}"/>
              </a:ext>
            </a:extLst>
          </p:cNvPr>
          <p:cNvSpPr>
            <a:spLocks noChangeAspect="1"/>
          </p:cNvSpPr>
          <p:nvPr/>
        </p:nvSpPr>
        <p:spPr bwMode="black">
          <a:xfrm>
            <a:off x="5984399" y="142109"/>
            <a:ext cx="5378549" cy="2166360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70" tIns="60935" rIns="121870" bIns="6093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2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005C6554-7033-4FD7-817B-04EE491AC890}"/>
              </a:ext>
            </a:extLst>
          </p:cNvPr>
          <p:cNvSpPr/>
          <p:nvPr/>
        </p:nvSpPr>
        <p:spPr bwMode="auto">
          <a:xfrm>
            <a:off x="6731420" y="1636149"/>
            <a:ext cx="4196176" cy="1143425"/>
          </a:xfrm>
          <a:prstGeom prst="roundRect">
            <a:avLst/>
          </a:prstGeom>
          <a:solidFill>
            <a:srgbClr val="FFFFFF"/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Azure Data Factory v2 Servic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29EA186-9883-431C-AA23-13E9D056A966}"/>
              </a:ext>
            </a:extLst>
          </p:cNvPr>
          <p:cNvSpPr txBox="1"/>
          <p:nvPr/>
        </p:nvSpPr>
        <p:spPr>
          <a:xfrm>
            <a:off x="6494032" y="1902421"/>
            <a:ext cx="4719513" cy="1629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60928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1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404040"/>
                    </a:gs>
                    <a:gs pos="30000">
                      <a:srgbClr val="404040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Scheduling | Orchestration | Monitoring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A95DAF6-04E2-4384-BB8B-B9B6B58E307A}"/>
              </a:ext>
            </a:extLst>
          </p:cNvPr>
          <p:cNvCxnSpPr>
            <a:cxnSpLocks/>
          </p:cNvCxnSpPr>
          <p:nvPr/>
        </p:nvCxnSpPr>
        <p:spPr>
          <a:xfrm flipH="1">
            <a:off x="8961735" y="1439279"/>
            <a:ext cx="1" cy="177861"/>
          </a:xfrm>
          <a:prstGeom prst="straightConnector1">
            <a:avLst/>
          </a:prstGeom>
          <a:noFill/>
          <a:ln w="9525" cap="flat" cmpd="sng" algn="ctr">
            <a:solidFill>
              <a:srgbClr val="353535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6975588-CC78-4821-A755-6DCBF069CB7A}"/>
              </a:ext>
            </a:extLst>
          </p:cNvPr>
          <p:cNvSpPr/>
          <p:nvPr/>
        </p:nvSpPr>
        <p:spPr bwMode="auto">
          <a:xfrm>
            <a:off x="6731420" y="841876"/>
            <a:ext cx="4196176" cy="518621"/>
          </a:xfrm>
          <a:prstGeom prst="roundRect">
            <a:avLst>
              <a:gd name="adj" fmla="val 29739"/>
            </a:avLst>
          </a:prstGeom>
          <a:solidFill>
            <a:srgbClr val="FFFFFF">
              <a:alpha val="64000"/>
            </a:srgbClr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UX &amp; SDK</a:t>
            </a:r>
          </a:p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1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404040"/>
                    </a:gs>
                    <a:gs pos="30000">
                      <a:srgbClr val="404040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Authoring  | Monitoring/Mgmt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23D93E9B-7D38-4A37-9797-D94A972233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2846" y="899996"/>
            <a:ext cx="382603" cy="362644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2B221E4C-07E8-418B-9E78-834B1C106DAF}"/>
              </a:ext>
            </a:extLst>
          </p:cNvPr>
          <p:cNvSpPr/>
          <p:nvPr/>
        </p:nvSpPr>
        <p:spPr bwMode="auto">
          <a:xfrm>
            <a:off x="6059102" y="4536049"/>
            <a:ext cx="1209553" cy="536396"/>
          </a:xfrm>
          <a:prstGeom prst="rect">
            <a:avLst/>
          </a:prstGeom>
          <a:solidFill>
            <a:srgbClr val="0072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Self Hosted </a:t>
            </a:r>
          </a:p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Integration Runtime</a:t>
            </a:r>
          </a:p>
        </p:txBody>
      </p:sp>
      <p:sp>
        <p:nvSpPr>
          <p:cNvPr id="31" name="Freeform 5">
            <a:extLst>
              <a:ext uri="{FF2B5EF4-FFF2-40B4-BE49-F238E27FC236}">
                <a16:creationId xmlns:a16="http://schemas.microsoft.com/office/drawing/2014/main" id="{3C2DF947-5B6C-4FFF-B652-4381D3CF9D4B}"/>
              </a:ext>
            </a:extLst>
          </p:cNvPr>
          <p:cNvSpPr>
            <a:spLocks noChangeAspect="1"/>
          </p:cNvSpPr>
          <p:nvPr/>
        </p:nvSpPr>
        <p:spPr bwMode="black">
          <a:xfrm>
            <a:off x="8887975" y="4066146"/>
            <a:ext cx="3066301" cy="1601606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70" tIns="60935" rIns="121870" bIns="6093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2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1030F99-B296-4B8D-BA2B-2719DB1D75A4}"/>
              </a:ext>
            </a:extLst>
          </p:cNvPr>
          <p:cNvSpPr txBox="1"/>
          <p:nvPr/>
        </p:nvSpPr>
        <p:spPr>
          <a:xfrm>
            <a:off x="9687997" y="5168818"/>
            <a:ext cx="1328860" cy="5112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Azure Svcs 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882F6FEA-6ADE-4725-89D7-C4DB5DF6BD11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50000"/>
          </a:blip>
          <a:stretch>
            <a:fillRect/>
          </a:stretch>
        </p:blipFill>
        <p:spPr>
          <a:xfrm>
            <a:off x="5536187" y="5286904"/>
            <a:ext cx="674300" cy="1334256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C19C66A0-EE66-4B13-B748-6018CDE0DDA7}"/>
              </a:ext>
            </a:extLst>
          </p:cNvPr>
          <p:cNvSpPr txBox="1"/>
          <p:nvPr/>
        </p:nvSpPr>
        <p:spPr>
          <a:xfrm>
            <a:off x="6112084" y="5474721"/>
            <a:ext cx="2103660" cy="7328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On Prem Apps &amp; Data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A34DF98-0853-4D4C-8813-D270DC447790}"/>
              </a:ext>
            </a:extLst>
          </p:cNvPr>
          <p:cNvSpPr/>
          <p:nvPr/>
        </p:nvSpPr>
        <p:spPr bwMode="auto">
          <a:xfrm>
            <a:off x="9702196" y="4424925"/>
            <a:ext cx="1567135" cy="536396"/>
          </a:xfrm>
          <a:prstGeom prst="rect">
            <a:avLst/>
          </a:prstGeom>
          <a:solidFill>
            <a:srgbClr val="0072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Azure</a:t>
            </a: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 </a:t>
            </a:r>
          </a:p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Integration </a:t>
            </a:r>
          </a:p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Runtime 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DA2F3E5-6B52-4C08-BBF6-634DDA94B45F}"/>
              </a:ext>
            </a:extLst>
          </p:cNvPr>
          <p:cNvGrpSpPr/>
          <p:nvPr/>
        </p:nvGrpSpPr>
        <p:grpSpPr>
          <a:xfrm>
            <a:off x="6670234" y="4030453"/>
            <a:ext cx="1031621" cy="409182"/>
            <a:chOff x="1570037" y="2467828"/>
            <a:chExt cx="1052307" cy="417387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49D55D25-55CA-45FE-9FD9-6CC47F4EDB69}"/>
                </a:ext>
              </a:extLst>
            </p:cNvPr>
            <p:cNvSpPr/>
            <p:nvPr/>
          </p:nvSpPr>
          <p:spPr bwMode="auto">
            <a:xfrm>
              <a:off x="1715190" y="2572174"/>
              <a:ext cx="762000" cy="208693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38" name="Graphic 37" descr="Table">
              <a:extLst>
                <a:ext uri="{FF2B5EF4-FFF2-40B4-BE49-F238E27FC236}">
                  <a16:creationId xmlns:a16="http://schemas.microsoft.com/office/drawing/2014/main" id="{6B4F9E13-A5DD-4336-BA97-75C8652A7C3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570037" y="2467828"/>
              <a:ext cx="1052307" cy="417387"/>
            </a:xfrm>
            <a:prstGeom prst="rect">
              <a:avLst/>
            </a:prstGeom>
          </p:spPr>
        </p:pic>
      </p:grpSp>
      <p:pic>
        <p:nvPicPr>
          <p:cNvPr id="42" name="Graphic 41" descr="Bonfire">
            <a:extLst>
              <a:ext uri="{FF2B5EF4-FFF2-40B4-BE49-F238E27FC236}">
                <a16:creationId xmlns:a16="http://schemas.microsoft.com/office/drawing/2014/main" id="{97B86723-0FB8-42F6-B7A4-BD7C3C54A17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682668" y="3725101"/>
            <a:ext cx="413019" cy="413019"/>
          </a:xfrm>
          <a:prstGeom prst="rect">
            <a:avLst/>
          </a:prstGeom>
        </p:spPr>
      </p:pic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D4E385F1-7A8F-436F-B6BA-18F11BABC1D0}"/>
              </a:ext>
            </a:extLst>
          </p:cNvPr>
          <p:cNvCxnSpPr>
            <a:cxnSpLocks/>
          </p:cNvCxnSpPr>
          <p:nvPr/>
        </p:nvCxnSpPr>
        <p:spPr>
          <a:xfrm flipH="1">
            <a:off x="5241560" y="182116"/>
            <a:ext cx="467743" cy="7987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24BF073-3D98-410B-9BC2-3F2270708AE0}"/>
              </a:ext>
            </a:extLst>
          </p:cNvPr>
          <p:cNvCxnSpPr>
            <a:cxnSpLocks/>
          </p:cNvCxnSpPr>
          <p:nvPr/>
        </p:nvCxnSpPr>
        <p:spPr>
          <a:xfrm flipH="1">
            <a:off x="5241560" y="518651"/>
            <a:ext cx="480283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095DFB61-8305-4F34-83B5-2F372E50C2F6}"/>
              </a:ext>
            </a:extLst>
          </p:cNvPr>
          <p:cNvSpPr txBox="1"/>
          <p:nvPr/>
        </p:nvSpPr>
        <p:spPr>
          <a:xfrm>
            <a:off x="5603473" y="-63348"/>
            <a:ext cx="4196763" cy="506901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Command and Contro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F6B02B0-9284-4FF3-A830-26007B12745C}"/>
              </a:ext>
            </a:extLst>
          </p:cNvPr>
          <p:cNvSpPr txBox="1"/>
          <p:nvPr/>
        </p:nvSpPr>
        <p:spPr>
          <a:xfrm>
            <a:off x="5583122" y="279970"/>
            <a:ext cx="4196763" cy="506901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Data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8F7A8F24-B21A-40DD-94C6-BF4CB3875348}"/>
              </a:ext>
            </a:extLst>
          </p:cNvPr>
          <p:cNvCxnSpPr>
            <a:cxnSpLocks/>
            <a:stCxn id="29" idx="0"/>
            <a:endCxn id="17" idx="2"/>
          </p:cNvCxnSpPr>
          <p:nvPr/>
        </p:nvCxnSpPr>
        <p:spPr>
          <a:xfrm flipH="1" flipV="1">
            <a:off x="8829508" y="2779574"/>
            <a:ext cx="1656256" cy="1645351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E4CED6A6-F53E-4397-9639-240C0B56D184}"/>
              </a:ext>
            </a:extLst>
          </p:cNvPr>
          <p:cNvCxnSpPr>
            <a:cxnSpLocks/>
            <a:stCxn id="27" idx="0"/>
            <a:endCxn id="17" idx="2"/>
          </p:cNvCxnSpPr>
          <p:nvPr/>
        </p:nvCxnSpPr>
        <p:spPr>
          <a:xfrm flipV="1">
            <a:off x="6663879" y="2779574"/>
            <a:ext cx="2165630" cy="1756476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AB0EBD8C-E2A2-49A3-843B-1FDEB44EECCF}"/>
              </a:ext>
            </a:extLst>
          </p:cNvPr>
          <p:cNvSpPr/>
          <p:nvPr/>
        </p:nvSpPr>
        <p:spPr bwMode="auto">
          <a:xfrm>
            <a:off x="7261494" y="2267520"/>
            <a:ext cx="1921341" cy="4144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F3ED4035-BB56-4CE1-81A0-B153BC2E6A66}"/>
              </a:ext>
            </a:extLst>
          </p:cNvPr>
          <p:cNvSpPr/>
          <p:nvPr/>
        </p:nvSpPr>
        <p:spPr bwMode="auto">
          <a:xfrm>
            <a:off x="7580496" y="2433620"/>
            <a:ext cx="227040" cy="11420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9CE12454-6A3A-44CB-8D67-1D787B1EF79C}"/>
              </a:ext>
            </a:extLst>
          </p:cNvPr>
          <p:cNvSpPr/>
          <p:nvPr/>
        </p:nvSpPr>
        <p:spPr bwMode="auto">
          <a:xfrm>
            <a:off x="7997140" y="2429612"/>
            <a:ext cx="227040" cy="11420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0B35D7E2-588A-4DC2-A2C6-A048A133C0C9}"/>
              </a:ext>
            </a:extLst>
          </p:cNvPr>
          <p:cNvSpPr/>
          <p:nvPr/>
        </p:nvSpPr>
        <p:spPr bwMode="auto">
          <a:xfrm>
            <a:off x="8429617" y="2338479"/>
            <a:ext cx="227040" cy="11420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EC0A003E-7ECA-42FE-BF3B-18E9E6FDA764}"/>
              </a:ext>
            </a:extLst>
          </p:cNvPr>
          <p:cNvSpPr/>
          <p:nvPr/>
        </p:nvSpPr>
        <p:spPr bwMode="auto">
          <a:xfrm>
            <a:off x="8429617" y="2540785"/>
            <a:ext cx="227040" cy="11420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0B356A6B-0164-4398-B570-A1F6B7F9F205}"/>
              </a:ext>
            </a:extLst>
          </p:cNvPr>
          <p:cNvCxnSpPr>
            <a:cxnSpLocks/>
            <a:endCxn id="62" idx="1"/>
          </p:cNvCxnSpPr>
          <p:nvPr/>
        </p:nvCxnSpPr>
        <p:spPr>
          <a:xfrm>
            <a:off x="7811108" y="2486713"/>
            <a:ext cx="186032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D7900D27-B01D-4B85-8C5D-1E15BD88A73B}"/>
              </a:ext>
            </a:extLst>
          </p:cNvPr>
          <p:cNvCxnSpPr>
            <a:cxnSpLocks/>
            <a:endCxn id="63" idx="1"/>
          </p:cNvCxnSpPr>
          <p:nvPr/>
        </p:nvCxnSpPr>
        <p:spPr>
          <a:xfrm flipV="1">
            <a:off x="8246461" y="2395580"/>
            <a:ext cx="183156" cy="104628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90E88328-F82C-4906-89F3-82B6B96A790E}"/>
              </a:ext>
            </a:extLst>
          </p:cNvPr>
          <p:cNvCxnSpPr>
            <a:cxnSpLocks/>
            <a:stCxn id="62" idx="3"/>
            <a:endCxn id="64" idx="1"/>
          </p:cNvCxnSpPr>
          <p:nvPr/>
        </p:nvCxnSpPr>
        <p:spPr>
          <a:xfrm>
            <a:off x="8224180" y="2486713"/>
            <a:ext cx="205437" cy="111173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3CDF9319-38AD-4685-9C5B-8916A03F6367}"/>
              </a:ext>
            </a:extLst>
          </p:cNvPr>
          <p:cNvSpPr/>
          <p:nvPr/>
        </p:nvSpPr>
        <p:spPr bwMode="auto">
          <a:xfrm>
            <a:off x="8823079" y="2537586"/>
            <a:ext cx="227040" cy="11420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86231B9F-E3C5-4BEB-8C67-916D75FC05E2}"/>
              </a:ext>
            </a:extLst>
          </p:cNvPr>
          <p:cNvCxnSpPr>
            <a:cxnSpLocks/>
          </p:cNvCxnSpPr>
          <p:nvPr/>
        </p:nvCxnSpPr>
        <p:spPr>
          <a:xfrm>
            <a:off x="8673674" y="2608183"/>
            <a:ext cx="155147" cy="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 73">
            <a:extLst>
              <a:ext uri="{FF2B5EF4-FFF2-40B4-BE49-F238E27FC236}">
                <a16:creationId xmlns:a16="http://schemas.microsoft.com/office/drawing/2014/main" id="{4DE9E213-8A65-4530-A23F-78AC4A9B9D14}"/>
              </a:ext>
            </a:extLst>
          </p:cNvPr>
          <p:cNvSpPr/>
          <p:nvPr/>
        </p:nvSpPr>
        <p:spPr bwMode="auto">
          <a:xfrm>
            <a:off x="9427855" y="2264447"/>
            <a:ext cx="963967" cy="4144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SSIS Package</a:t>
            </a:r>
          </a:p>
        </p:txBody>
      </p: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B71888BB-2D5B-457D-8D15-D4385E9B1996}"/>
              </a:ext>
            </a:extLst>
          </p:cNvPr>
          <p:cNvCxnSpPr>
            <a:cxnSpLocks/>
            <a:endCxn id="27" idx="3"/>
          </p:cNvCxnSpPr>
          <p:nvPr/>
        </p:nvCxnSpPr>
        <p:spPr>
          <a:xfrm flipH="1" flipV="1">
            <a:off x="7268655" y="4804247"/>
            <a:ext cx="1657781" cy="81966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87F235D6-C9D6-4134-8F25-3D566BA3C7B5}"/>
              </a:ext>
            </a:extLst>
          </p:cNvPr>
          <p:cNvCxnSpPr>
            <a:cxnSpLocks/>
            <a:endCxn id="27" idx="2"/>
          </p:cNvCxnSpPr>
          <p:nvPr/>
        </p:nvCxnSpPr>
        <p:spPr>
          <a:xfrm flipH="1" flipV="1">
            <a:off x="6663879" y="5072446"/>
            <a:ext cx="6356" cy="45482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E8D658E-5222-4EA5-A452-5AA9AA49C4D8}"/>
              </a:ext>
            </a:extLst>
          </p:cNvPr>
          <p:cNvGrpSpPr/>
          <p:nvPr/>
        </p:nvGrpSpPr>
        <p:grpSpPr>
          <a:xfrm>
            <a:off x="10985615" y="4976064"/>
            <a:ext cx="138282" cy="868618"/>
            <a:chOff x="5868071" y="4976064"/>
            <a:chExt cx="138282" cy="868618"/>
          </a:xfrm>
        </p:grpSpPr>
        <p:cxnSp>
          <p:nvCxnSpPr>
            <p:cNvPr id="89" name="Straight Arrow Connector 88">
              <a:extLst>
                <a:ext uri="{FF2B5EF4-FFF2-40B4-BE49-F238E27FC236}">
                  <a16:creationId xmlns:a16="http://schemas.microsoft.com/office/drawing/2014/main" id="{64200DD0-D3DA-4CB7-B918-33C27B988E7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68071" y="4976064"/>
              <a:ext cx="0" cy="868618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9" name="Straight Arrow Connector 98">
              <a:extLst>
                <a:ext uri="{FF2B5EF4-FFF2-40B4-BE49-F238E27FC236}">
                  <a16:creationId xmlns:a16="http://schemas.microsoft.com/office/drawing/2014/main" id="{83D0E7C0-5B90-445F-9EB8-2D022FB2918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996526" y="4976065"/>
              <a:ext cx="9827" cy="862947"/>
            </a:xfrm>
            <a:prstGeom prst="straightConnector1">
              <a:avLst/>
            </a:prstGeom>
            <a:ln w="12700">
              <a:solidFill>
                <a:schemeClr val="tx1"/>
              </a:solidFill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5" name="Straight Arrow Connector 104">
            <a:extLst>
              <a:ext uri="{FF2B5EF4-FFF2-40B4-BE49-F238E27FC236}">
                <a16:creationId xmlns:a16="http://schemas.microsoft.com/office/drawing/2014/main" id="{A1648413-F9FF-4CB3-92FF-125136A3EC96}"/>
              </a:ext>
            </a:extLst>
          </p:cNvPr>
          <p:cNvCxnSpPr>
            <a:cxnSpLocks/>
          </p:cNvCxnSpPr>
          <p:nvPr/>
        </p:nvCxnSpPr>
        <p:spPr>
          <a:xfrm flipH="1" flipV="1">
            <a:off x="6509902" y="5100045"/>
            <a:ext cx="5302" cy="427222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Box 122">
            <a:extLst>
              <a:ext uri="{FF2B5EF4-FFF2-40B4-BE49-F238E27FC236}">
                <a16:creationId xmlns:a16="http://schemas.microsoft.com/office/drawing/2014/main" id="{D5CDAE0F-0B5F-4F2E-8CA1-5BB4F041F851}"/>
              </a:ext>
            </a:extLst>
          </p:cNvPr>
          <p:cNvSpPr txBox="1"/>
          <p:nvPr/>
        </p:nvSpPr>
        <p:spPr>
          <a:xfrm>
            <a:off x="7268619" y="2269029"/>
            <a:ext cx="1554459" cy="1629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Semilight"/>
                <a:ea typeface="+mn-ea"/>
                <a:cs typeface="Segoe UI" pitchFamily="34" charset="0"/>
              </a:rPr>
              <a:t>Pipeline</a:t>
            </a:r>
          </a:p>
        </p:txBody>
      </p:sp>
      <p:pic>
        <p:nvPicPr>
          <p:cNvPr id="47" name="Picture 8" descr="Image result for Amazon AWS">
            <a:extLst>
              <a:ext uri="{FF2B5EF4-FFF2-40B4-BE49-F238E27FC236}">
                <a16:creationId xmlns:a16="http://schemas.microsoft.com/office/drawing/2014/main" id="{AED0228B-4662-48D0-A884-3AD0D6B01D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23835" y="6510226"/>
            <a:ext cx="611377" cy="2218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B59F154E-2E9A-4649-931F-2488C923D362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71714" y="6254697"/>
            <a:ext cx="524811" cy="366463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58ACCCB9-6A0C-46BD-BC00-2FBB592D437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01382" y="6273040"/>
            <a:ext cx="628713" cy="24676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BA8019C1-297B-46D4-8B9C-D0E410E9EEB6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60089" y="6486522"/>
            <a:ext cx="391592" cy="220270"/>
          </a:xfrm>
          <a:prstGeom prst="rect">
            <a:avLst/>
          </a:prstGeom>
        </p:spPr>
      </p:pic>
      <p:pic>
        <p:nvPicPr>
          <p:cNvPr id="3" name="Picture 2" descr="A drawing of a cartoon character&#10;&#10;Description generated with high confidence">
            <a:extLst>
              <a:ext uri="{FF2B5EF4-FFF2-40B4-BE49-F238E27FC236}">
                <a16:creationId xmlns:a16="http://schemas.microsoft.com/office/drawing/2014/main" id="{661D5180-C214-402E-A2B1-171F6C5B2BB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9968" y="6464977"/>
            <a:ext cx="340285" cy="34488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AFA2849-DC78-40EC-93CE-78C45A0F6830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134" b="38831"/>
          <a:stretch/>
        </p:blipFill>
        <p:spPr>
          <a:xfrm>
            <a:off x="10513563" y="6621161"/>
            <a:ext cx="554827" cy="131496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9DAB203B-13A8-4B70-8185-01AE4D4DB4CD}"/>
              </a:ext>
            </a:extLst>
          </p:cNvPr>
          <p:cNvSpPr txBox="1"/>
          <p:nvPr/>
        </p:nvSpPr>
        <p:spPr>
          <a:xfrm>
            <a:off x="9687997" y="5839522"/>
            <a:ext cx="2370841" cy="5112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Cloud &amp; SaaS</a:t>
            </a:r>
          </a:p>
        </p:txBody>
      </p: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919B3A7B-BEA4-4F69-8782-604057891238}"/>
              </a:ext>
            </a:extLst>
          </p:cNvPr>
          <p:cNvCxnSpPr>
            <a:cxnSpLocks/>
          </p:cNvCxnSpPr>
          <p:nvPr/>
        </p:nvCxnSpPr>
        <p:spPr>
          <a:xfrm flipV="1">
            <a:off x="10135236" y="4999466"/>
            <a:ext cx="0" cy="28743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120FF923-36A0-419D-B58E-DEEA26F70C64}"/>
              </a:ext>
            </a:extLst>
          </p:cNvPr>
          <p:cNvCxnSpPr>
            <a:cxnSpLocks/>
          </p:cNvCxnSpPr>
          <p:nvPr/>
        </p:nvCxnSpPr>
        <p:spPr>
          <a:xfrm flipV="1">
            <a:off x="10313435" y="4999467"/>
            <a:ext cx="0" cy="287437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D3ED15F6-0F84-442D-8CD2-54875DB803F8}"/>
              </a:ext>
            </a:extLst>
          </p:cNvPr>
          <p:cNvSpPr txBox="1"/>
          <p:nvPr/>
        </p:nvSpPr>
        <p:spPr>
          <a:xfrm>
            <a:off x="9270782" y="86305"/>
            <a:ext cx="1328860" cy="455857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Azure</a:t>
            </a:r>
          </a:p>
        </p:txBody>
      </p:sp>
      <p:pic>
        <p:nvPicPr>
          <p:cNvPr id="79" name="Picture 78">
            <a:extLst>
              <a:ext uri="{FF2B5EF4-FFF2-40B4-BE49-F238E27FC236}">
                <a16:creationId xmlns:a16="http://schemas.microsoft.com/office/drawing/2014/main" id="{DACE255A-4F36-4CD2-9B2F-AD025D688BD1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1299" y="6092685"/>
            <a:ext cx="417206" cy="211384"/>
          </a:xfrm>
          <a:prstGeom prst="rect">
            <a:avLst/>
          </a:prstGeom>
        </p:spPr>
      </p:pic>
      <p:pic>
        <p:nvPicPr>
          <p:cNvPr id="80" name="Picture 79">
            <a:extLst>
              <a:ext uri="{FF2B5EF4-FFF2-40B4-BE49-F238E27FC236}">
                <a16:creationId xmlns:a16="http://schemas.microsoft.com/office/drawing/2014/main" id="{8B6F3FE8-BFEA-4591-AA21-451E60ECEE1B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38121" y="6308417"/>
            <a:ext cx="491661" cy="211383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D0CDDBD7-549E-4A7F-9669-60D1F5A734C5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2336" y="6519800"/>
            <a:ext cx="450827" cy="124766"/>
          </a:xfrm>
          <a:prstGeom prst="rect">
            <a:avLst/>
          </a:prstGeom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0045662A-EACD-4287-B00B-BBA6EFD4560D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3912" y="6106510"/>
            <a:ext cx="695872" cy="187875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039992B6-A7DD-4668-B9EE-D7684C75AE04}"/>
              </a:ext>
            </a:extLst>
          </p:cNvPr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833" y="6360885"/>
            <a:ext cx="690897" cy="131599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D729F4EF-C00B-4F83-AA2C-837980FC49C6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8296" y="6016124"/>
            <a:ext cx="379699" cy="308585"/>
          </a:xfrm>
          <a:prstGeom prst="rect">
            <a:avLst/>
          </a:prstGeom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190EB120-CED2-44F4-8F3A-793E51611A56}"/>
              </a:ext>
            </a:extLst>
          </p:cNvPr>
          <p:cNvSpPr/>
          <p:nvPr/>
        </p:nvSpPr>
        <p:spPr bwMode="auto">
          <a:xfrm>
            <a:off x="-5230" y="973"/>
            <a:ext cx="4798562" cy="6857027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51CD1D13-991D-44D7-AF80-D9070DC7C3CA}"/>
              </a:ext>
            </a:extLst>
          </p:cNvPr>
          <p:cNvSpPr/>
          <p:nvPr/>
        </p:nvSpPr>
        <p:spPr>
          <a:xfrm>
            <a:off x="245818" y="1187230"/>
            <a:ext cx="4721346" cy="40811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 Factory</a:t>
            </a:r>
            <a:endParaRPr lang="en-US" sz="240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 data integration account. 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ocation of orchestration, service metadata</a:t>
            </a:r>
            <a:endParaRPr lang="en-US" sz="240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endParaRPr lang="en-US" sz="320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tegration Runtime (IR)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DF’s execution engine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hree core capabilities: 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 movement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ipeline activity execution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SIS package execution</a:t>
            </a:r>
          </a:p>
        </p:txBody>
      </p:sp>
      <p:sp>
        <p:nvSpPr>
          <p:cNvPr id="75" name="Title 1">
            <a:extLst>
              <a:ext uri="{FF2B5EF4-FFF2-40B4-BE49-F238E27FC236}">
                <a16:creationId xmlns:a16="http://schemas.microsoft.com/office/drawing/2014/main" id="{D2093F48-ED1B-4198-90BE-76F868168C29}"/>
              </a:ext>
            </a:extLst>
          </p:cNvPr>
          <p:cNvSpPr txBox="1">
            <a:spLocks/>
          </p:cNvSpPr>
          <p:nvPr/>
        </p:nvSpPr>
        <p:spPr>
          <a:xfrm>
            <a:off x="209589" y="175258"/>
            <a:ext cx="11023275" cy="64396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920" b="1" spc="-100">
                <a:ln w="3175">
                  <a:noFill/>
                </a:ln>
                <a:solidFill>
                  <a:srgbClr val="0078D7"/>
                </a:solidFill>
                <a:latin typeface="Segoe UI Light (Headings)"/>
                <a:ea typeface="+mn-ea"/>
                <a:cs typeface="Segoe UI" pitchFamily="34" charset="0"/>
              </a:rPr>
              <a:t>Architecture</a:t>
            </a:r>
          </a:p>
        </p:txBody>
      </p:sp>
    </p:spTree>
    <p:extLst>
      <p:ext uri="{BB962C8B-B14F-4D97-AF65-F5344CB8AC3E}">
        <p14:creationId xmlns:p14="http://schemas.microsoft.com/office/powerpoint/2010/main" val="2474007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Title 1">
            <a:extLst>
              <a:ext uri="{FF2B5EF4-FFF2-40B4-BE49-F238E27FC236}">
                <a16:creationId xmlns:a16="http://schemas.microsoft.com/office/drawing/2014/main" id="{84835B3A-DD8E-43CC-93E1-30DC89865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920" b="1">
                <a:solidFill>
                  <a:srgbClr val="0078D7"/>
                </a:solidFill>
                <a:latin typeface="Segoe UI Light (Headings)"/>
              </a:rPr>
              <a:t>ADF Key Concepts</a:t>
            </a:r>
          </a:p>
        </p:txBody>
      </p:sp>
      <p:pic>
        <p:nvPicPr>
          <p:cNvPr id="7" name="Picture 2" descr="Diagram: Data Factory, a cloud data integration service - Key Concepts">
            <a:extLst>
              <a:ext uri="{FF2B5EF4-FFF2-40B4-BE49-F238E27FC236}">
                <a16:creationId xmlns:a16="http://schemas.microsoft.com/office/drawing/2014/main" id="{BE009E6E-8554-4328-8586-D0CAA6C195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644" y="1996827"/>
            <a:ext cx="11383536" cy="3600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E977691-26A4-4B92-99C3-225F3B814A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11083" y="4593502"/>
            <a:ext cx="1675963" cy="33364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17AFA93-B211-49B7-A6E8-C93D678DEFF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62165" y="4328602"/>
            <a:ext cx="2919726" cy="1114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126918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53DABB43-3747-4A16-AE3E-6D88AE3A0C03}"/>
              </a:ext>
            </a:extLst>
          </p:cNvPr>
          <p:cNvSpPr txBox="1">
            <a:spLocks/>
          </p:cNvSpPr>
          <p:nvPr/>
        </p:nvSpPr>
        <p:spPr>
          <a:xfrm>
            <a:off x="196561" y="155051"/>
            <a:ext cx="10533962" cy="687805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325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88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3918"/>
            <a:r>
              <a:rPr lang="en-US" sz="3920" b="1" spc="-100">
                <a:ln w="3175">
                  <a:noFill/>
                </a:ln>
                <a:solidFill>
                  <a:srgbClr val="0078D7"/>
                </a:solidFill>
                <a:latin typeface="Segoe UI Light (Headings)"/>
                <a:ea typeface="+mn-ea"/>
                <a:cs typeface="Segoe UI" pitchFamily="34" charset="0"/>
              </a:rPr>
              <a:t>Access all your data – 80+ connectors &amp; grow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DEB1C3F-4F91-4090-B20B-170898529B4A}"/>
              </a:ext>
            </a:extLst>
          </p:cNvPr>
          <p:cNvSpPr/>
          <p:nvPr/>
        </p:nvSpPr>
        <p:spPr>
          <a:xfrm>
            <a:off x="174070" y="6358086"/>
            <a:ext cx="455406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126"/>
            <a:r>
              <a:rPr lang="en-US" sz="140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* Supported file formats: CSV, Parquet, AVRO, ORC, JSON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05C014F-0D93-440F-B88E-CA6E36542912}"/>
              </a:ext>
            </a:extLst>
          </p:cNvPr>
          <p:cNvGraphicFramePr>
            <a:graphicFrameLocks noGrp="1"/>
          </p:cNvGraphicFramePr>
          <p:nvPr/>
        </p:nvGraphicFramePr>
        <p:xfrm>
          <a:off x="340946" y="842856"/>
          <a:ext cx="11510108" cy="5452312"/>
        </p:xfrm>
        <a:graphic>
          <a:graphicData uri="http://schemas.openxmlformats.org/drawingml/2006/table">
            <a:tbl>
              <a:tblPr firstRow="1" firstCol="1" bandRow="1"/>
              <a:tblGrid>
                <a:gridCol w="1714201">
                  <a:extLst>
                    <a:ext uri="{9D8B030D-6E8A-4147-A177-3AD203B41FA5}">
                      <a16:colId xmlns:a16="http://schemas.microsoft.com/office/drawing/2014/main" val="165871124"/>
                    </a:ext>
                  </a:extLst>
                </a:gridCol>
                <a:gridCol w="1443607">
                  <a:extLst>
                    <a:ext uri="{9D8B030D-6E8A-4147-A177-3AD203B41FA5}">
                      <a16:colId xmlns:a16="http://schemas.microsoft.com/office/drawing/2014/main" val="1811083477"/>
                    </a:ext>
                  </a:extLst>
                </a:gridCol>
                <a:gridCol w="1357569">
                  <a:extLst>
                    <a:ext uri="{9D8B030D-6E8A-4147-A177-3AD203B41FA5}">
                      <a16:colId xmlns:a16="http://schemas.microsoft.com/office/drawing/2014/main" val="2505787839"/>
                    </a:ext>
                  </a:extLst>
                </a:gridCol>
                <a:gridCol w="1529646">
                  <a:extLst>
                    <a:ext uri="{9D8B030D-6E8A-4147-A177-3AD203B41FA5}">
                      <a16:colId xmlns:a16="http://schemas.microsoft.com/office/drawing/2014/main" val="168916183"/>
                    </a:ext>
                  </a:extLst>
                </a:gridCol>
                <a:gridCol w="1270873">
                  <a:extLst>
                    <a:ext uri="{9D8B030D-6E8A-4147-A177-3AD203B41FA5}">
                      <a16:colId xmlns:a16="http://schemas.microsoft.com/office/drawing/2014/main" val="3147627892"/>
                    </a:ext>
                  </a:extLst>
                </a:gridCol>
                <a:gridCol w="1454773">
                  <a:extLst>
                    <a:ext uri="{9D8B030D-6E8A-4147-A177-3AD203B41FA5}">
                      <a16:colId xmlns:a16="http://schemas.microsoft.com/office/drawing/2014/main" val="32484208"/>
                    </a:ext>
                  </a:extLst>
                </a:gridCol>
                <a:gridCol w="1481044">
                  <a:extLst>
                    <a:ext uri="{9D8B030D-6E8A-4147-A177-3AD203B41FA5}">
                      <a16:colId xmlns:a16="http://schemas.microsoft.com/office/drawing/2014/main" val="845883136"/>
                    </a:ext>
                  </a:extLst>
                </a:gridCol>
                <a:gridCol w="1258395">
                  <a:extLst>
                    <a:ext uri="{9D8B030D-6E8A-4147-A177-3AD203B41FA5}">
                      <a16:colId xmlns:a16="http://schemas.microsoft.com/office/drawing/2014/main" val="2208311229"/>
                    </a:ext>
                  </a:extLst>
                </a:gridCol>
              </a:tblGrid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Azure (15)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atabase &amp; DW (25)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File Storage (6)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NoSQL (3)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ervices &amp; Apps (28)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Generic (4)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0371443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Blob Storage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Amazon Redshift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Oracle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Amazon S3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Cassandra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Amazon MWS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Oracle Service Cloud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HTTP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899563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Cosmos DB – SQL API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B2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Phoenix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File System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Couchbase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CDS for Apps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Paypal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OData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6061614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Cosmos DB – MongoDB API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rill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PostgreSQL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FTP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MongoDB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Concur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QuickBooks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ODBC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9028119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ADLS Gen1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Google BigQuery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Presto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Google Cloud Storage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ynamics 365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alesforce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REST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2673198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ADLS Gen2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Greenplum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AP BW Open Hub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HDFS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ynamics AX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F Service Cloud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1972173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ata Explorer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HBase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AP BW MDX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FTP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ynamics CRM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F Marketing Cloud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3696990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atabase for MariaDB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Hive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AP HANA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Google AdWords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AP C4C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2881925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atabase for MySQL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Impala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park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HubSpot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AP ECC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113273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atabase for PostgreSQL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Informix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QL Server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Jira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erviceNow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4367279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File Storage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MariaDB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ybase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Magento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hopify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8617407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QL Database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Microsoft Access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Teradata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Marketo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quare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2715348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QL Database MI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MySQL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Vertica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Office 365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Web Table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5284688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QL Data Warehouse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Netezza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Oracle Eloqua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Xero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137223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earch Index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Oracle Responsys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err="1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Zoho</a:t>
                      </a:r>
                      <a:endParaRPr lang="en-US" sz="125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</a:endParaRP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8525800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Table Storage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6976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6951642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53DABB43-3747-4A16-AE3E-6D88AE3A0C03}"/>
              </a:ext>
            </a:extLst>
          </p:cNvPr>
          <p:cNvSpPr txBox="1">
            <a:spLocks/>
          </p:cNvSpPr>
          <p:nvPr/>
        </p:nvSpPr>
        <p:spPr>
          <a:xfrm>
            <a:off x="197400" y="155517"/>
            <a:ext cx="11071047" cy="115048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325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88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3918"/>
            <a:r>
              <a:rPr lang="en-US" sz="3900" b="1" spc="-100">
                <a:ln w="3175">
                  <a:noFill/>
                </a:ln>
                <a:solidFill>
                  <a:srgbClr val="0078D7"/>
                </a:solidFill>
                <a:latin typeface="Segoe UI Light (Headings)"/>
                <a:ea typeface="+mn-ea"/>
                <a:cs typeface="Segoe UI" pitchFamily="34" charset="0"/>
              </a:rPr>
              <a:t>Transformation through Analytics Engin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900FADB-CAC6-4C36-B477-85442258E8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5586" y="1725926"/>
            <a:ext cx="1400086" cy="89953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F635D79-C936-4D76-9527-C3B7EA732402}"/>
              </a:ext>
            </a:extLst>
          </p:cNvPr>
          <p:cNvSpPr txBox="1"/>
          <p:nvPr/>
        </p:nvSpPr>
        <p:spPr>
          <a:xfrm>
            <a:off x="3556001" y="2639894"/>
            <a:ext cx="4579256" cy="926367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Azure HDInsight (on-demand/BYOC)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Hive, Pig, Spark, MapReduce, Streaming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3C4DB65-9143-4053-B6DD-6A02747D01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56135" y="1721957"/>
            <a:ext cx="1059825" cy="907475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D23CE4A-A0E7-4711-86F4-8C5430D15B37}"/>
              </a:ext>
            </a:extLst>
          </p:cNvPr>
          <p:cNvSpPr txBox="1"/>
          <p:nvPr/>
        </p:nvSpPr>
        <p:spPr>
          <a:xfrm>
            <a:off x="783101" y="2639894"/>
            <a:ext cx="2805892" cy="926367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Azure Databricks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Notebook, Jar, Python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BA43B6AC-54C5-4C1B-9532-422012AB69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80568" y="4058879"/>
            <a:ext cx="1210959" cy="962222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CF1168C9-8EAD-40C4-A7CE-6B5DC2854ADC}"/>
              </a:ext>
            </a:extLst>
          </p:cNvPr>
          <p:cNvSpPr txBox="1"/>
          <p:nvPr/>
        </p:nvSpPr>
        <p:spPr>
          <a:xfrm>
            <a:off x="611447" y="4962243"/>
            <a:ext cx="3149201" cy="898667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Azure Data Lake Analytics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Data Lake Analytics U-SQL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5C56A675-1BA0-4379-A582-2FEB753271B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34772" y="4081450"/>
            <a:ext cx="1021714" cy="91708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7F5A5711-CE44-4335-B725-487E95488C52}"/>
              </a:ext>
            </a:extLst>
          </p:cNvPr>
          <p:cNvSpPr txBox="1"/>
          <p:nvPr/>
        </p:nvSpPr>
        <p:spPr>
          <a:xfrm>
            <a:off x="4056733" y="4962243"/>
            <a:ext cx="3577792" cy="898667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Machine Learning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Batch Execution, Update Resourc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994AE0EE-5807-4526-BE54-CAB10424AD9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14990" y="4042634"/>
            <a:ext cx="1140789" cy="994712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FC778084-802A-4046-892A-C70A4AE47332}"/>
              </a:ext>
            </a:extLst>
          </p:cNvPr>
          <p:cNvSpPr txBox="1"/>
          <p:nvPr/>
        </p:nvSpPr>
        <p:spPr>
          <a:xfrm>
            <a:off x="8302322" y="4962243"/>
            <a:ext cx="2966125" cy="898667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Azure Batch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Custom Executabl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88960E92-2E53-4E8B-B028-32A41D44810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42496" y="1678338"/>
            <a:ext cx="1085777" cy="994712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1DE0DDFF-4A74-4E85-8D31-EEBB1CFCF938}"/>
              </a:ext>
            </a:extLst>
          </p:cNvPr>
          <p:cNvSpPr txBox="1"/>
          <p:nvPr/>
        </p:nvSpPr>
        <p:spPr>
          <a:xfrm>
            <a:off x="7983386" y="2639894"/>
            <a:ext cx="3603996" cy="926367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Azure SQL DB/DW, SQL Server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Stored Procedure</a:t>
            </a:r>
          </a:p>
        </p:txBody>
      </p:sp>
    </p:spTree>
    <p:extLst>
      <p:ext uri="{BB962C8B-B14F-4D97-AF65-F5344CB8AC3E}">
        <p14:creationId xmlns:p14="http://schemas.microsoft.com/office/powerpoint/2010/main" val="3076577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8059E029-6125-4656-A2FF-A93D7EA22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024" y="154197"/>
            <a:ext cx="10514108" cy="1150945"/>
          </a:xfrm>
        </p:spPr>
        <p:txBody>
          <a:bodyPr>
            <a:normAutofit/>
          </a:bodyPr>
          <a:lstStyle/>
          <a:p>
            <a:r>
              <a:rPr lang="en-US" sz="3900" b="1">
                <a:solidFill>
                  <a:srgbClr val="0078D7"/>
                </a:solidFill>
                <a:latin typeface="Segoe UI Light (Headings)"/>
              </a:rPr>
              <a:t>Control Flow</a:t>
            </a:r>
          </a:p>
        </p:txBody>
      </p:sp>
      <p:sp>
        <p:nvSpPr>
          <p:cNvPr id="79" name="Rectangle 78"/>
          <p:cNvSpPr/>
          <p:nvPr/>
        </p:nvSpPr>
        <p:spPr>
          <a:xfrm>
            <a:off x="1952121" y="3934334"/>
            <a:ext cx="6970601" cy="2579832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endParaRPr lang="en-US">
              <a:solidFill>
                <a:srgbClr val="FFFFFF"/>
              </a:solidFill>
              <a:latin typeface="Segoe UI Semilight"/>
            </a:endParaRPr>
          </a:p>
        </p:txBody>
      </p:sp>
      <p:cxnSp>
        <p:nvCxnSpPr>
          <p:cNvPr id="81" name="Straight Arrow Connector 80"/>
          <p:cNvCxnSpPr>
            <a:endCxn id="82" idx="1"/>
          </p:cNvCxnSpPr>
          <p:nvPr/>
        </p:nvCxnSpPr>
        <p:spPr>
          <a:xfrm>
            <a:off x="1619482" y="4805947"/>
            <a:ext cx="1550843" cy="0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81"/>
          <p:cNvSpPr/>
          <p:nvPr/>
        </p:nvSpPr>
        <p:spPr>
          <a:xfrm>
            <a:off x="3170325" y="4436485"/>
            <a:ext cx="1150719" cy="7389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568" b="1">
                <a:solidFill>
                  <a:srgbClr val="FFFFFF"/>
                </a:solidFill>
                <a:latin typeface="Segoe UI Semilight"/>
              </a:rPr>
              <a:t>Activity 1</a:t>
            </a:r>
            <a:endParaRPr lang="en-US" sz="1568">
              <a:solidFill>
                <a:srgbClr val="FFFFFF"/>
              </a:solidFill>
              <a:latin typeface="Segoe UI Semilight"/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5314130" y="4436485"/>
            <a:ext cx="1150719" cy="7389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568" b="1">
                <a:solidFill>
                  <a:srgbClr val="FFFFFF"/>
                </a:solidFill>
                <a:latin typeface="Segoe UI Semilight"/>
              </a:rPr>
              <a:t>Activity 2</a:t>
            </a:r>
          </a:p>
        </p:txBody>
      </p:sp>
      <p:cxnSp>
        <p:nvCxnSpPr>
          <p:cNvPr id="84" name="Straight Arrow Connector 83"/>
          <p:cNvCxnSpPr/>
          <p:nvPr/>
        </p:nvCxnSpPr>
        <p:spPr>
          <a:xfrm>
            <a:off x="4321043" y="4848508"/>
            <a:ext cx="993088" cy="1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 flipV="1">
            <a:off x="6464849" y="4848507"/>
            <a:ext cx="630302" cy="2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 85"/>
          <p:cNvSpPr/>
          <p:nvPr/>
        </p:nvSpPr>
        <p:spPr>
          <a:xfrm>
            <a:off x="7214133" y="4358124"/>
            <a:ext cx="1150719" cy="29485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400" b="1">
                <a:solidFill>
                  <a:srgbClr val="FFFFFF"/>
                </a:solidFill>
                <a:latin typeface="Segoe UI Semilight"/>
              </a:rPr>
              <a:t>Activity 3</a:t>
            </a:r>
            <a:endParaRPr lang="en-US" sz="1200">
              <a:solidFill>
                <a:srgbClr val="FFFFFF"/>
              </a:solidFill>
              <a:latin typeface="Segoe UI Semilight"/>
            </a:endParaRPr>
          </a:p>
        </p:txBody>
      </p:sp>
      <p:cxnSp>
        <p:nvCxnSpPr>
          <p:cNvPr id="87" name="Straight Arrow Connector 86"/>
          <p:cNvCxnSpPr>
            <a:endCxn id="88" idx="1"/>
          </p:cNvCxnSpPr>
          <p:nvPr/>
        </p:nvCxnSpPr>
        <p:spPr>
          <a:xfrm>
            <a:off x="4321044" y="4848508"/>
            <a:ext cx="958109" cy="1139681"/>
          </a:xfrm>
          <a:prstGeom prst="straightConnector1">
            <a:avLst/>
          </a:prstGeom>
          <a:ln w="254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/>
          <p:cNvSpPr/>
          <p:nvPr/>
        </p:nvSpPr>
        <p:spPr>
          <a:xfrm>
            <a:off x="5279152" y="5618728"/>
            <a:ext cx="1150719" cy="7389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568" b="1">
                <a:solidFill>
                  <a:srgbClr val="FFFFFF"/>
                </a:solidFill>
                <a:latin typeface="Segoe UI Semilight"/>
              </a:rPr>
              <a:t>“On Error” Activity 1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4334408" y="4358125"/>
            <a:ext cx="1098704" cy="5317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/>
            <a:r>
              <a:rPr lang="en-US" sz="1400" i="1">
                <a:solidFill>
                  <a:srgbClr val="353535"/>
                </a:solidFill>
                <a:latin typeface="Segoe UI Semilight"/>
              </a:rPr>
              <a:t>Success, </a:t>
            </a:r>
            <a:r>
              <a:rPr lang="en-US" sz="1400" i="1" err="1">
                <a:solidFill>
                  <a:srgbClr val="353535"/>
                </a:solidFill>
                <a:latin typeface="Segoe UI Semilight"/>
              </a:rPr>
              <a:t>params</a:t>
            </a:r>
            <a:endParaRPr lang="en-US" sz="1400" i="1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4286067" y="5350598"/>
            <a:ext cx="7818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/>
            <a:r>
              <a:rPr lang="en-US" sz="1400" i="1">
                <a:solidFill>
                  <a:srgbClr val="353535"/>
                </a:solidFill>
                <a:latin typeface="Segoe UI Semilight"/>
              </a:rPr>
              <a:t>Error, </a:t>
            </a:r>
            <a:r>
              <a:rPr lang="en-US" sz="1400" i="1" err="1">
                <a:solidFill>
                  <a:srgbClr val="353535"/>
                </a:solidFill>
                <a:latin typeface="Segoe UI Semilight"/>
              </a:rPr>
              <a:t>params</a:t>
            </a:r>
            <a:endParaRPr lang="en-US" sz="1400" i="1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1866267" y="3592637"/>
            <a:ext cx="1515901" cy="3120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/>
            <a:r>
              <a:rPr lang="en-US" sz="1400" i="1">
                <a:solidFill>
                  <a:srgbClr val="353535"/>
                </a:solidFill>
                <a:latin typeface="Segoe UI Semilight"/>
              </a:rPr>
              <a:t>My Pipeline 1</a:t>
            </a:r>
          </a:p>
        </p:txBody>
      </p:sp>
      <p:cxnSp>
        <p:nvCxnSpPr>
          <p:cNvPr id="92" name="Straight Arrow Connector 91"/>
          <p:cNvCxnSpPr/>
          <p:nvPr/>
        </p:nvCxnSpPr>
        <p:spPr>
          <a:xfrm flipV="1">
            <a:off x="6429871" y="5988189"/>
            <a:ext cx="657779" cy="2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tangle 92"/>
          <p:cNvSpPr/>
          <p:nvPr/>
        </p:nvSpPr>
        <p:spPr>
          <a:xfrm>
            <a:off x="7064532" y="5618728"/>
            <a:ext cx="1150719" cy="7389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400" b="1">
                <a:solidFill>
                  <a:srgbClr val="FFFFFF"/>
                </a:solidFill>
                <a:latin typeface="Segoe UI Semilight"/>
              </a:rPr>
              <a:t>…</a:t>
            </a:r>
            <a:endParaRPr lang="en-US" sz="1200">
              <a:solidFill>
                <a:srgbClr val="FFFFFF"/>
              </a:solidFill>
              <a:latin typeface="Segoe UI Semilight"/>
            </a:endParaRPr>
          </a:p>
        </p:txBody>
      </p:sp>
      <p:sp>
        <p:nvSpPr>
          <p:cNvPr id="94" name="Rectangle 93"/>
          <p:cNvSpPr/>
          <p:nvPr/>
        </p:nvSpPr>
        <p:spPr>
          <a:xfrm>
            <a:off x="9471283" y="4296798"/>
            <a:ext cx="2309845" cy="2227877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endParaRPr lang="en-US">
              <a:solidFill>
                <a:srgbClr val="FFFFFF"/>
              </a:solidFill>
              <a:latin typeface="Segoe UI Semilight"/>
            </a:endParaRPr>
          </a:p>
        </p:txBody>
      </p:sp>
      <p:cxnSp>
        <p:nvCxnSpPr>
          <p:cNvPr id="95" name="Straight Arrow Connector 94"/>
          <p:cNvCxnSpPr>
            <a:stCxn id="97" idx="3"/>
          </p:cNvCxnSpPr>
          <p:nvPr/>
        </p:nvCxnSpPr>
        <p:spPr>
          <a:xfrm>
            <a:off x="8452525" y="4635144"/>
            <a:ext cx="1045556" cy="775592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extBox 95"/>
          <p:cNvSpPr txBox="1"/>
          <p:nvPr/>
        </p:nvSpPr>
        <p:spPr>
          <a:xfrm>
            <a:off x="9424519" y="4003447"/>
            <a:ext cx="1515901" cy="3120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/>
            <a:r>
              <a:rPr lang="en-US" sz="1400" i="1">
                <a:solidFill>
                  <a:srgbClr val="353535"/>
                </a:solidFill>
                <a:latin typeface="Segoe UI Semilight"/>
              </a:rPr>
              <a:t>My Pipeline 2</a:t>
            </a:r>
          </a:p>
        </p:txBody>
      </p:sp>
      <p:sp>
        <p:nvSpPr>
          <p:cNvPr id="97" name="Rectangle 96"/>
          <p:cNvSpPr/>
          <p:nvPr/>
        </p:nvSpPr>
        <p:spPr>
          <a:xfrm>
            <a:off x="7095152" y="4003447"/>
            <a:ext cx="1357373" cy="126339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367"/>
            <a:r>
              <a:rPr lang="en-US" sz="1400" b="1">
                <a:solidFill>
                  <a:srgbClr val="FFFFFF">
                    <a:lumMod val="50000"/>
                  </a:srgbClr>
                </a:solidFill>
                <a:latin typeface="Segoe UI Semilight"/>
              </a:rPr>
              <a:t>For Each…</a:t>
            </a:r>
            <a:endParaRPr lang="en-US" sz="1200">
              <a:solidFill>
                <a:srgbClr val="FFFFFF">
                  <a:lumMod val="50000"/>
                </a:srgbClr>
              </a:solidFill>
              <a:latin typeface="Segoe UI Semilight"/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7214133" y="4902817"/>
            <a:ext cx="1150719" cy="29485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400" b="1">
                <a:solidFill>
                  <a:srgbClr val="FFFFFF"/>
                </a:solidFill>
                <a:latin typeface="Segoe UI Semilight"/>
              </a:rPr>
              <a:t>Activity 4</a:t>
            </a:r>
            <a:endParaRPr lang="en-US" sz="1200">
              <a:solidFill>
                <a:srgbClr val="FFFFFF"/>
              </a:solidFill>
              <a:latin typeface="Segoe UI Semilight"/>
            </a:endParaRPr>
          </a:p>
        </p:txBody>
      </p:sp>
      <p:cxnSp>
        <p:nvCxnSpPr>
          <p:cNvPr id="99" name="Straight Arrow Connector 98"/>
          <p:cNvCxnSpPr>
            <a:stCxn id="86" idx="2"/>
            <a:endCxn id="98" idx="0"/>
          </p:cNvCxnSpPr>
          <p:nvPr/>
        </p:nvCxnSpPr>
        <p:spPr>
          <a:xfrm>
            <a:off x="7789492" y="4652979"/>
            <a:ext cx="0" cy="249839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2013113" y="4325362"/>
            <a:ext cx="1098704" cy="5317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/>
            <a:r>
              <a:rPr lang="en-US" sz="1400" i="1">
                <a:solidFill>
                  <a:srgbClr val="353535"/>
                </a:solidFill>
                <a:latin typeface="Segoe UI Semilight"/>
              </a:rPr>
              <a:t>Success, </a:t>
            </a:r>
            <a:r>
              <a:rPr lang="en-US" sz="1400" i="1" err="1">
                <a:solidFill>
                  <a:srgbClr val="353535"/>
                </a:solidFill>
                <a:latin typeface="Segoe UI Semilight"/>
              </a:rPr>
              <a:t>params</a:t>
            </a:r>
            <a:endParaRPr lang="en-US" sz="1400" i="1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49715" y="4158440"/>
            <a:ext cx="1377708" cy="141933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568" b="1">
                <a:solidFill>
                  <a:srgbClr val="FFFFFF"/>
                </a:solidFill>
                <a:latin typeface="Segoe UI Semilight"/>
              </a:rPr>
              <a:t>Trigger</a:t>
            </a:r>
          </a:p>
          <a:p>
            <a:pPr algn="ctr" defTabSz="914367"/>
            <a:endParaRPr lang="en-US" sz="1200" b="1">
              <a:solidFill>
                <a:srgbClr val="FFFFFF"/>
              </a:solidFill>
              <a:latin typeface="Segoe UI Semilight"/>
            </a:endParaRPr>
          </a:p>
          <a:p>
            <a:pPr defTabSz="914367"/>
            <a:endParaRPr lang="en-US" sz="1200">
              <a:solidFill>
                <a:srgbClr val="FFFFFF"/>
              </a:solidFill>
              <a:latin typeface="Segoe UI Semilight"/>
            </a:endParaRPr>
          </a:p>
          <a:p>
            <a:pPr defTabSz="914367"/>
            <a:r>
              <a:rPr lang="en-US" sz="1200">
                <a:solidFill>
                  <a:srgbClr val="FFFFFF"/>
                </a:solidFill>
              </a:rPr>
              <a:t>On Demand</a:t>
            </a:r>
          </a:p>
          <a:p>
            <a:pPr defTabSz="914367"/>
            <a:r>
              <a:rPr lang="en-US" sz="1200">
                <a:solidFill>
                  <a:srgbClr val="FFFFFF"/>
                </a:solidFill>
                <a:latin typeface="Segoe UI Semilight"/>
              </a:rPr>
              <a:t>Scheduled</a:t>
            </a:r>
          </a:p>
          <a:p>
            <a:pPr defTabSz="914367"/>
            <a:r>
              <a:rPr lang="en-US" sz="1200">
                <a:solidFill>
                  <a:srgbClr val="FFFFFF"/>
                </a:solidFill>
                <a:latin typeface="Segoe UI Semilight"/>
              </a:rPr>
              <a:t>Tumbling Window</a:t>
            </a:r>
          </a:p>
          <a:p>
            <a:pPr defTabSz="914367"/>
            <a:r>
              <a:rPr lang="en-US" sz="1200">
                <a:solidFill>
                  <a:srgbClr val="FFFFFF"/>
                </a:solidFill>
                <a:latin typeface="Segoe UI Semilight"/>
              </a:rPr>
              <a:t>Event-based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0219048" y="4409020"/>
            <a:ext cx="820050" cy="3996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078" b="1">
                <a:solidFill>
                  <a:srgbClr val="FFFFFF"/>
                </a:solidFill>
                <a:latin typeface="Segoe UI Semilight"/>
              </a:rPr>
              <a:t>Activity 1</a:t>
            </a:r>
            <a:endParaRPr lang="en-US" sz="1078">
              <a:solidFill>
                <a:srgbClr val="FFFFFF"/>
              </a:solidFill>
              <a:latin typeface="Segoe UI Semilight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0229579" y="5067234"/>
            <a:ext cx="820050" cy="3996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078" b="1">
                <a:solidFill>
                  <a:srgbClr val="FFFFFF"/>
                </a:solidFill>
                <a:latin typeface="Segoe UI Semilight"/>
              </a:rPr>
              <a:t>Activity 2</a:t>
            </a:r>
          </a:p>
        </p:txBody>
      </p:sp>
      <p:sp>
        <p:nvSpPr>
          <p:cNvPr id="30" name="Rectangle 29"/>
          <p:cNvSpPr/>
          <p:nvPr/>
        </p:nvSpPr>
        <p:spPr>
          <a:xfrm>
            <a:off x="10229579" y="5788383"/>
            <a:ext cx="820050" cy="3996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078" b="1">
                <a:solidFill>
                  <a:srgbClr val="FFFFFF"/>
                </a:solidFill>
                <a:latin typeface="Segoe UI Semilight"/>
              </a:rPr>
              <a:t>…</a:t>
            </a:r>
            <a:endParaRPr lang="en-US" sz="1029">
              <a:solidFill>
                <a:srgbClr val="FFFFFF"/>
              </a:solidFill>
              <a:latin typeface="Segoe UI Semilight"/>
            </a:endParaRPr>
          </a:p>
        </p:txBody>
      </p:sp>
      <p:cxnSp>
        <p:nvCxnSpPr>
          <p:cNvPr id="37" name="Straight Arrow Connector 36"/>
          <p:cNvCxnSpPr/>
          <p:nvPr/>
        </p:nvCxnSpPr>
        <p:spPr>
          <a:xfrm>
            <a:off x="10626206" y="4805947"/>
            <a:ext cx="0" cy="249839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/>
          <p:nvPr/>
        </p:nvCxnSpPr>
        <p:spPr>
          <a:xfrm>
            <a:off x="10652998" y="5500732"/>
            <a:ext cx="0" cy="249839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B5785EB7-2855-41D8-8FCC-C4859C983245}"/>
              </a:ext>
            </a:extLst>
          </p:cNvPr>
          <p:cNvSpPr txBox="1">
            <a:spLocks/>
          </p:cNvSpPr>
          <p:nvPr/>
        </p:nvSpPr>
        <p:spPr>
          <a:xfrm>
            <a:off x="349715" y="912189"/>
            <a:ext cx="11655078" cy="249299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36080" marR="0" indent="-33608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3724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1pPr>
            <a:lvl2pPr marL="572581" marR="0" indent="-23650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353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2pPr>
            <a:lvl3pPr marL="784187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961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3pPr>
            <a:lvl4pPr marL="1008241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4pPr>
            <a:lvl5pPr marL="1232294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5pPr>
            <a:lvl6pPr marL="2514026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23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19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15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Flexible triggering</a:t>
            </a:r>
            <a:r>
              <a:rPr lang="en-US" sz="2000" dirty="0"/>
              <a:t>: on-demand, scheduled, tumbling window</a:t>
            </a:r>
          </a:p>
          <a:p>
            <a:r>
              <a:rPr lang="en-US" sz="2000" b="1" dirty="0"/>
              <a:t>Looping</a:t>
            </a:r>
            <a:r>
              <a:rPr lang="en-US" sz="2000" dirty="0"/>
              <a:t>: </a:t>
            </a:r>
            <a:r>
              <a:rPr lang="en-US" sz="2000" dirty="0" err="1"/>
              <a:t>ForEach</a:t>
            </a:r>
            <a:r>
              <a:rPr lang="en-US" sz="2000" dirty="0"/>
              <a:t>, </a:t>
            </a:r>
            <a:r>
              <a:rPr lang="en-US" sz="2000" dirty="0" err="1"/>
              <a:t>DoUntil</a:t>
            </a:r>
            <a:r>
              <a:rPr lang="en-US" sz="2000" dirty="0"/>
              <a:t>, </a:t>
            </a:r>
            <a:r>
              <a:rPr lang="en-US" sz="2000" dirty="0" err="1"/>
              <a:t>WaitFor</a:t>
            </a:r>
            <a:endParaRPr lang="en-US" sz="2000" dirty="0"/>
          </a:p>
          <a:p>
            <a:r>
              <a:rPr lang="en-US" sz="2000" b="1" dirty="0"/>
              <a:t>Branching activity</a:t>
            </a:r>
            <a:r>
              <a:rPr lang="en-US" sz="2000" dirty="0"/>
              <a:t>: If Condition</a:t>
            </a:r>
          </a:p>
          <a:p>
            <a:r>
              <a:rPr lang="en-US" sz="2000" b="1" dirty="0"/>
              <a:t>Conditional chaining of activities</a:t>
            </a:r>
            <a:r>
              <a:rPr lang="en-US" sz="2000" dirty="0"/>
              <a:t>: Succeeded, Failed, Skipped, Completed</a:t>
            </a:r>
          </a:p>
          <a:p>
            <a:r>
              <a:rPr lang="en-US" sz="2000" b="1" dirty="0"/>
              <a:t>Parameters and expression</a:t>
            </a:r>
            <a:r>
              <a:rPr lang="en-US" sz="2000" dirty="0"/>
              <a:t>: parameters can be defined for pipeline/activity/dataset</a:t>
            </a:r>
          </a:p>
          <a:p>
            <a:r>
              <a:rPr lang="en-US" sz="2000" b="1" dirty="0"/>
              <a:t>Custom state passing: </a:t>
            </a:r>
            <a:r>
              <a:rPr lang="en-US" sz="2000" dirty="0"/>
              <a:t>output from previous activity can be consumed by subsequent activity</a:t>
            </a:r>
          </a:p>
          <a:p>
            <a:r>
              <a:rPr lang="en-US" sz="2000" b="1" dirty="0"/>
              <a:t>Extensible</a:t>
            </a:r>
            <a:r>
              <a:rPr lang="en-US" sz="2000" dirty="0"/>
              <a:t>: Web activity, Azure Function activity, Execute Pipeline activity</a:t>
            </a:r>
          </a:p>
        </p:txBody>
      </p:sp>
    </p:spTree>
    <p:extLst>
      <p:ext uri="{BB962C8B-B14F-4D97-AF65-F5344CB8AC3E}">
        <p14:creationId xmlns:p14="http://schemas.microsoft.com/office/powerpoint/2010/main" val="590175795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C5F8BA-DD9D-4376-8509-72FC89781E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1015663"/>
          </a:xfrm>
        </p:spPr>
        <p:txBody>
          <a:bodyPr/>
          <a:lstStyle/>
          <a:p>
            <a:r>
              <a:rPr lang="en-US" sz="6000"/>
              <a:t>Loading Data using ADF</a:t>
            </a:r>
          </a:p>
        </p:txBody>
      </p:sp>
    </p:spTree>
    <p:extLst>
      <p:ext uri="{BB962C8B-B14F-4D97-AF65-F5344CB8AC3E}">
        <p14:creationId xmlns:p14="http://schemas.microsoft.com/office/powerpoint/2010/main" val="828700643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5">
            <a:extLst>
              <a:ext uri="{FF2B5EF4-FFF2-40B4-BE49-F238E27FC236}">
                <a16:creationId xmlns:a16="http://schemas.microsoft.com/office/drawing/2014/main" id="{C94DB16D-BD12-474E-91F7-2B08993B681F}"/>
              </a:ext>
            </a:extLst>
          </p:cNvPr>
          <p:cNvSpPr>
            <a:spLocks noChangeAspect="1"/>
          </p:cNvSpPr>
          <p:nvPr/>
        </p:nvSpPr>
        <p:spPr bwMode="black">
          <a:xfrm>
            <a:off x="6096001" y="627773"/>
            <a:ext cx="5377148" cy="2165796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38" tIns="60919" rIns="121838" bIns="60919" numCol="1" anchor="t" anchorCtr="0" compatLnSpc="1">
            <a:prstTxWarp prst="textNoShape">
              <a:avLst/>
            </a:prstTxWarp>
          </a:bodyPr>
          <a:lstStyle/>
          <a:p>
            <a:pPr defTabSz="609102">
              <a:defRPr/>
            </a:pPr>
            <a:endParaRPr lang="en-US" sz="1176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005C6554-7033-4FD7-817B-04EE491AC890}"/>
              </a:ext>
            </a:extLst>
          </p:cNvPr>
          <p:cNvSpPr/>
          <p:nvPr/>
        </p:nvSpPr>
        <p:spPr bwMode="auto">
          <a:xfrm>
            <a:off x="6836399" y="2013584"/>
            <a:ext cx="4195083" cy="779987"/>
          </a:xfrm>
          <a:prstGeom prst="roundRect">
            <a:avLst/>
          </a:prstGeom>
          <a:solidFill>
            <a:srgbClr val="FFFFFF"/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algn="ctr" defTabSz="1242193">
              <a:defRPr/>
            </a:pPr>
            <a:r>
              <a:rPr lang="en-US" sz="1600" b="1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ADF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A95DAF6-04E2-4384-BB8B-B9B6B58E307A}"/>
              </a:ext>
            </a:extLst>
          </p:cNvPr>
          <p:cNvCxnSpPr>
            <a:cxnSpLocks/>
          </p:cNvCxnSpPr>
          <p:nvPr/>
        </p:nvCxnSpPr>
        <p:spPr>
          <a:xfrm>
            <a:off x="8964643" y="1646453"/>
            <a:ext cx="1" cy="357661"/>
          </a:xfrm>
          <a:prstGeom prst="straightConnector1">
            <a:avLst/>
          </a:prstGeom>
          <a:noFill/>
          <a:ln w="9525" cap="flat" cmpd="sng" algn="ctr">
            <a:solidFill>
              <a:srgbClr val="353535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6975588-CC78-4821-A755-6DCBF069CB7A}"/>
              </a:ext>
            </a:extLst>
          </p:cNvPr>
          <p:cNvSpPr/>
          <p:nvPr/>
        </p:nvSpPr>
        <p:spPr bwMode="auto">
          <a:xfrm>
            <a:off x="6842828" y="1327360"/>
            <a:ext cx="4195083" cy="295101"/>
          </a:xfrm>
          <a:prstGeom prst="roundRect">
            <a:avLst>
              <a:gd name="adj" fmla="val 29739"/>
            </a:avLst>
          </a:prstGeom>
          <a:solidFill>
            <a:srgbClr val="FFFFFF">
              <a:alpha val="64000"/>
            </a:srgbClr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algn="ctr" defTabSz="1242193">
              <a:defRPr/>
            </a:pPr>
            <a:r>
              <a:rPr lang="en-US" sz="1600" b="1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UX &amp; SDK</a:t>
            </a:r>
          </a:p>
        </p:txBody>
      </p:sp>
      <p:sp>
        <p:nvSpPr>
          <p:cNvPr id="31" name="Freeform 5">
            <a:extLst>
              <a:ext uri="{FF2B5EF4-FFF2-40B4-BE49-F238E27FC236}">
                <a16:creationId xmlns:a16="http://schemas.microsoft.com/office/drawing/2014/main" id="{3C2DF947-5B6C-4FFF-B652-4381D3CF9D4B}"/>
              </a:ext>
            </a:extLst>
          </p:cNvPr>
          <p:cNvSpPr>
            <a:spLocks noChangeAspect="1"/>
          </p:cNvSpPr>
          <p:nvPr/>
        </p:nvSpPr>
        <p:spPr bwMode="black">
          <a:xfrm>
            <a:off x="8821127" y="4213987"/>
            <a:ext cx="3233308" cy="2016550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38" tIns="60919" rIns="121838" bIns="60919" numCol="1" anchor="t" anchorCtr="0" compatLnSpc="1">
            <a:prstTxWarp prst="textNoShape">
              <a:avLst/>
            </a:prstTxWarp>
          </a:bodyPr>
          <a:lstStyle/>
          <a:p>
            <a:pPr defTabSz="609102">
              <a:defRPr/>
            </a:pPr>
            <a:endParaRPr lang="en-US" sz="1176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A34DF98-0853-4D4C-8813-D270DC447790}"/>
              </a:ext>
            </a:extLst>
          </p:cNvPr>
          <p:cNvSpPr/>
          <p:nvPr/>
        </p:nvSpPr>
        <p:spPr bwMode="auto">
          <a:xfrm>
            <a:off x="9434877" y="3867274"/>
            <a:ext cx="2249681" cy="1407317"/>
          </a:xfrm>
          <a:prstGeom prst="rect">
            <a:avLst/>
          </a:prstGeom>
          <a:solidFill>
            <a:srgbClr val="0072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 defTabSz="1242193">
              <a:defRPr/>
            </a:pPr>
            <a:r>
              <a:rPr lang="en-US" sz="1600" b="1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IR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D4E385F1-7A8F-436F-B6BA-18F11BABC1D0}"/>
              </a:ext>
            </a:extLst>
          </p:cNvPr>
          <p:cNvCxnSpPr>
            <a:cxnSpLocks/>
          </p:cNvCxnSpPr>
          <p:nvPr/>
        </p:nvCxnSpPr>
        <p:spPr>
          <a:xfrm flipH="1">
            <a:off x="5340534" y="401435"/>
            <a:ext cx="467621" cy="7985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24BF073-3D98-410B-9BC2-3F2270708AE0}"/>
              </a:ext>
            </a:extLst>
          </p:cNvPr>
          <p:cNvCxnSpPr>
            <a:cxnSpLocks/>
          </p:cNvCxnSpPr>
          <p:nvPr/>
        </p:nvCxnSpPr>
        <p:spPr>
          <a:xfrm flipH="1">
            <a:off x="5340533" y="737881"/>
            <a:ext cx="480158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095DFB61-8305-4F34-83B5-2F372E50C2F6}"/>
              </a:ext>
            </a:extLst>
          </p:cNvPr>
          <p:cNvSpPr txBox="1"/>
          <p:nvPr/>
        </p:nvSpPr>
        <p:spPr>
          <a:xfrm>
            <a:off x="5702352" y="156035"/>
            <a:ext cx="4195670" cy="506769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Command and Contro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F6B02B0-9284-4FF3-A830-26007B12745C}"/>
              </a:ext>
            </a:extLst>
          </p:cNvPr>
          <p:cNvSpPr txBox="1"/>
          <p:nvPr/>
        </p:nvSpPr>
        <p:spPr>
          <a:xfrm>
            <a:off x="5682006" y="499264"/>
            <a:ext cx="4195670" cy="506769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Data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B0EBD8C-E2A2-49A3-843B-1FDEB44EECCF}"/>
              </a:ext>
            </a:extLst>
          </p:cNvPr>
          <p:cNvSpPr/>
          <p:nvPr/>
        </p:nvSpPr>
        <p:spPr bwMode="auto">
          <a:xfrm>
            <a:off x="8004222" y="2287017"/>
            <a:ext cx="1920841" cy="41435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F3ED4035-BB56-4CE1-81A0-B153BC2E6A66}"/>
              </a:ext>
            </a:extLst>
          </p:cNvPr>
          <p:cNvSpPr/>
          <p:nvPr/>
        </p:nvSpPr>
        <p:spPr bwMode="auto">
          <a:xfrm>
            <a:off x="8323141" y="2453072"/>
            <a:ext cx="226981" cy="114172"/>
          </a:xfrm>
          <a:prstGeom prst="roundRect">
            <a:avLst/>
          </a:prstGeom>
          <a:solidFill>
            <a:srgbClr val="FFC000"/>
          </a:solidFill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9CE12454-6A3A-44CB-8D67-1D787B1EF79C}"/>
              </a:ext>
            </a:extLst>
          </p:cNvPr>
          <p:cNvSpPr/>
          <p:nvPr/>
        </p:nvSpPr>
        <p:spPr bwMode="auto">
          <a:xfrm>
            <a:off x="8739676" y="2449065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0B35D7E2-588A-4DC2-A2C6-A048A133C0C9}"/>
              </a:ext>
            </a:extLst>
          </p:cNvPr>
          <p:cNvSpPr/>
          <p:nvPr/>
        </p:nvSpPr>
        <p:spPr bwMode="auto">
          <a:xfrm>
            <a:off x="9172041" y="2357956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EC0A003E-7ECA-42FE-BF3B-18E9E6FDA764}"/>
              </a:ext>
            </a:extLst>
          </p:cNvPr>
          <p:cNvSpPr/>
          <p:nvPr/>
        </p:nvSpPr>
        <p:spPr bwMode="auto">
          <a:xfrm>
            <a:off x="9172041" y="2560209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0B356A6B-0164-4398-B570-A1F6B7F9F205}"/>
              </a:ext>
            </a:extLst>
          </p:cNvPr>
          <p:cNvCxnSpPr>
            <a:cxnSpLocks/>
            <a:endCxn id="62" idx="1"/>
          </p:cNvCxnSpPr>
          <p:nvPr/>
        </p:nvCxnSpPr>
        <p:spPr>
          <a:xfrm>
            <a:off x="8553692" y="2506151"/>
            <a:ext cx="185984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D7900D27-B01D-4B85-8C5D-1E15BD88A73B}"/>
              </a:ext>
            </a:extLst>
          </p:cNvPr>
          <p:cNvCxnSpPr>
            <a:cxnSpLocks/>
            <a:endCxn id="63" idx="1"/>
          </p:cNvCxnSpPr>
          <p:nvPr/>
        </p:nvCxnSpPr>
        <p:spPr>
          <a:xfrm flipV="1">
            <a:off x="8988932" y="2415043"/>
            <a:ext cx="183108" cy="10460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90E88328-F82C-4906-89F3-82B6B96A790E}"/>
              </a:ext>
            </a:extLst>
          </p:cNvPr>
          <p:cNvCxnSpPr>
            <a:cxnSpLocks/>
            <a:stCxn id="62" idx="3"/>
            <a:endCxn id="64" idx="1"/>
          </p:cNvCxnSpPr>
          <p:nvPr/>
        </p:nvCxnSpPr>
        <p:spPr>
          <a:xfrm>
            <a:off x="8966656" y="2506152"/>
            <a:ext cx="205384" cy="111144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3CDF9319-38AD-4685-9C5B-8916A03F6367}"/>
              </a:ext>
            </a:extLst>
          </p:cNvPr>
          <p:cNvSpPr/>
          <p:nvPr/>
        </p:nvSpPr>
        <p:spPr bwMode="auto">
          <a:xfrm>
            <a:off x="9565400" y="2557011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86231B9F-E3C5-4BEB-8C67-916D75FC05E2}"/>
              </a:ext>
            </a:extLst>
          </p:cNvPr>
          <p:cNvCxnSpPr>
            <a:cxnSpLocks/>
          </p:cNvCxnSpPr>
          <p:nvPr/>
        </p:nvCxnSpPr>
        <p:spPr>
          <a:xfrm>
            <a:off x="9416034" y="2627591"/>
            <a:ext cx="155107" cy="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64200DD0-D3DA-4CB7-B918-33C27B988E75}"/>
              </a:ext>
            </a:extLst>
          </p:cNvPr>
          <p:cNvCxnSpPr>
            <a:cxnSpLocks/>
            <a:stCxn id="58" idx="0"/>
            <a:endCxn id="29" idx="2"/>
          </p:cNvCxnSpPr>
          <p:nvPr/>
        </p:nvCxnSpPr>
        <p:spPr>
          <a:xfrm flipV="1">
            <a:off x="10559716" y="5274591"/>
            <a:ext cx="0" cy="355255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3" name="TextBox 122">
            <a:extLst>
              <a:ext uri="{FF2B5EF4-FFF2-40B4-BE49-F238E27FC236}">
                <a16:creationId xmlns:a16="http://schemas.microsoft.com/office/drawing/2014/main" id="{D5CDAE0F-0B5F-4F2E-8CA1-5BB4F041F851}"/>
              </a:ext>
            </a:extLst>
          </p:cNvPr>
          <p:cNvSpPr txBox="1"/>
          <p:nvPr/>
        </p:nvSpPr>
        <p:spPr>
          <a:xfrm>
            <a:off x="8011345" y="2288524"/>
            <a:ext cx="1554054" cy="1628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176">
                <a:solidFill>
                  <a:srgbClr val="737373"/>
                </a:solidFill>
                <a:latin typeface="Segoe UI Semilight"/>
                <a:cs typeface="Segoe UI" pitchFamily="34" charset="0"/>
              </a:rPr>
              <a:t>Pipeline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3BE2795-A704-445B-8FE3-CC61D41066E0}"/>
              </a:ext>
            </a:extLst>
          </p:cNvPr>
          <p:cNvSpPr/>
          <p:nvPr/>
        </p:nvSpPr>
        <p:spPr bwMode="auto">
          <a:xfrm>
            <a:off x="-3642" y="1867"/>
            <a:ext cx="5140930" cy="685524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9F24FA54-9ADC-46C9-8F5E-9E84F17A47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59717" y="2188123"/>
            <a:ext cx="425086" cy="425544"/>
          </a:xfrm>
          <a:prstGeom prst="rect">
            <a:avLst/>
          </a:prstGeom>
        </p:spPr>
      </p:pic>
      <p:sp>
        <p:nvSpPr>
          <p:cNvPr id="54" name="Freeform 5">
            <a:extLst>
              <a:ext uri="{FF2B5EF4-FFF2-40B4-BE49-F238E27FC236}">
                <a16:creationId xmlns:a16="http://schemas.microsoft.com/office/drawing/2014/main" id="{3D738FCF-05CE-474C-A8EF-674DEFF392F1}"/>
              </a:ext>
            </a:extLst>
          </p:cNvPr>
          <p:cNvSpPr>
            <a:spLocks noChangeAspect="1"/>
          </p:cNvSpPr>
          <p:nvPr/>
        </p:nvSpPr>
        <p:spPr bwMode="black">
          <a:xfrm>
            <a:off x="5377870" y="4213987"/>
            <a:ext cx="3233308" cy="2016550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38" tIns="60919" rIns="121838" bIns="60919" numCol="1" anchor="t" anchorCtr="0" compatLnSpc="1">
            <a:prstTxWarp prst="textNoShape">
              <a:avLst/>
            </a:prstTxWarp>
          </a:bodyPr>
          <a:lstStyle/>
          <a:p>
            <a:pPr defTabSz="609102">
              <a:defRPr/>
            </a:pPr>
            <a:endParaRPr lang="en-US" sz="1176">
              <a:solidFill>
                <a:srgbClr val="404040"/>
              </a:solidFill>
              <a:latin typeface="Segoe UI"/>
            </a:endParaRPr>
          </a:p>
        </p:txBody>
      </p: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B71888BB-2D5B-457D-8D15-D4385E9B1996}"/>
              </a:ext>
            </a:extLst>
          </p:cNvPr>
          <p:cNvCxnSpPr>
            <a:cxnSpLocks/>
            <a:stCxn id="29" idx="1"/>
            <a:endCxn id="65" idx="0"/>
          </p:cNvCxnSpPr>
          <p:nvPr/>
        </p:nvCxnSpPr>
        <p:spPr>
          <a:xfrm flipH="1">
            <a:off x="6994526" y="4570933"/>
            <a:ext cx="2440351" cy="1058913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8" name="Rounded Rectangle 8">
            <a:extLst>
              <a:ext uri="{FF2B5EF4-FFF2-40B4-BE49-F238E27FC236}">
                <a16:creationId xmlns:a16="http://schemas.microsoft.com/office/drawing/2014/main" id="{BF01306E-D157-4662-8FAC-9076B49B77AF}"/>
              </a:ext>
            </a:extLst>
          </p:cNvPr>
          <p:cNvSpPr/>
          <p:nvPr/>
        </p:nvSpPr>
        <p:spPr bwMode="auto">
          <a:xfrm>
            <a:off x="9434877" y="5629847"/>
            <a:ext cx="2249681" cy="468865"/>
          </a:xfrm>
          <a:prstGeom prst="roundRect">
            <a:avLst/>
          </a:prstGeom>
          <a:solidFill>
            <a:srgbClr val="4EB1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6" tIns="146246" rIns="182806" bIns="1462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0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Cloud Data Stores</a:t>
            </a:r>
          </a:p>
        </p:txBody>
      </p:sp>
      <p:sp>
        <p:nvSpPr>
          <p:cNvPr id="65" name="Rounded Rectangle 8">
            <a:extLst>
              <a:ext uri="{FF2B5EF4-FFF2-40B4-BE49-F238E27FC236}">
                <a16:creationId xmlns:a16="http://schemas.microsoft.com/office/drawing/2014/main" id="{11969639-7746-4D3E-82FE-3160CCC30BC5}"/>
              </a:ext>
            </a:extLst>
          </p:cNvPr>
          <p:cNvSpPr/>
          <p:nvPr/>
        </p:nvSpPr>
        <p:spPr bwMode="auto">
          <a:xfrm>
            <a:off x="5869684" y="5629846"/>
            <a:ext cx="2249681" cy="468865"/>
          </a:xfrm>
          <a:prstGeom prst="roundRect">
            <a:avLst/>
          </a:prstGeom>
          <a:solidFill>
            <a:srgbClr val="4EB1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6" tIns="146246" rIns="182806" bIns="1462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0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Cloud Data Stores</a:t>
            </a:r>
          </a:p>
        </p:txBody>
      </p:sp>
      <p:sp>
        <p:nvSpPr>
          <p:cNvPr id="68" name="Shape 312">
            <a:extLst>
              <a:ext uri="{FF2B5EF4-FFF2-40B4-BE49-F238E27FC236}">
                <a16:creationId xmlns:a16="http://schemas.microsoft.com/office/drawing/2014/main" id="{80A19E4E-1FBD-47C9-96D4-ABE590409776}"/>
              </a:ext>
            </a:extLst>
          </p:cNvPr>
          <p:cNvSpPr/>
          <p:nvPr/>
        </p:nvSpPr>
        <p:spPr>
          <a:xfrm>
            <a:off x="9580919" y="4748873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1" name="Shape 312">
            <a:extLst>
              <a:ext uri="{FF2B5EF4-FFF2-40B4-BE49-F238E27FC236}">
                <a16:creationId xmlns:a16="http://schemas.microsoft.com/office/drawing/2014/main" id="{6BBC1CFF-C1CA-4534-A7BD-C63170434E7C}"/>
              </a:ext>
            </a:extLst>
          </p:cNvPr>
          <p:cNvSpPr/>
          <p:nvPr/>
        </p:nvSpPr>
        <p:spPr>
          <a:xfrm>
            <a:off x="10092240" y="4749028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5" name="Shape 312">
            <a:extLst>
              <a:ext uri="{FF2B5EF4-FFF2-40B4-BE49-F238E27FC236}">
                <a16:creationId xmlns:a16="http://schemas.microsoft.com/office/drawing/2014/main" id="{AF864F23-D2FA-4A6F-A2F3-7A0DC355CE02}"/>
              </a:ext>
            </a:extLst>
          </p:cNvPr>
          <p:cNvSpPr/>
          <p:nvPr/>
        </p:nvSpPr>
        <p:spPr>
          <a:xfrm>
            <a:off x="10603561" y="4748873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6" name="Shape 312">
            <a:extLst>
              <a:ext uri="{FF2B5EF4-FFF2-40B4-BE49-F238E27FC236}">
                <a16:creationId xmlns:a16="http://schemas.microsoft.com/office/drawing/2014/main" id="{E16A578A-0FB0-42E6-B09F-814DFBE2A85B}"/>
              </a:ext>
            </a:extLst>
          </p:cNvPr>
          <p:cNvSpPr/>
          <p:nvPr/>
        </p:nvSpPr>
        <p:spPr>
          <a:xfrm>
            <a:off x="11114881" y="4748873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8" name="Shape 312">
            <a:extLst>
              <a:ext uri="{FF2B5EF4-FFF2-40B4-BE49-F238E27FC236}">
                <a16:creationId xmlns:a16="http://schemas.microsoft.com/office/drawing/2014/main" id="{4D601B02-F216-4DD9-A1F3-2666015C53A2}"/>
              </a:ext>
            </a:extLst>
          </p:cNvPr>
          <p:cNvSpPr/>
          <p:nvPr/>
        </p:nvSpPr>
        <p:spPr>
          <a:xfrm>
            <a:off x="9583416" y="4251820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9" name="Shape 312">
            <a:extLst>
              <a:ext uri="{FF2B5EF4-FFF2-40B4-BE49-F238E27FC236}">
                <a16:creationId xmlns:a16="http://schemas.microsoft.com/office/drawing/2014/main" id="{58A4551B-6283-4731-8429-82414B1E46DE}"/>
              </a:ext>
            </a:extLst>
          </p:cNvPr>
          <p:cNvSpPr/>
          <p:nvPr/>
        </p:nvSpPr>
        <p:spPr>
          <a:xfrm>
            <a:off x="10094737" y="4251975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0" name="Shape 312">
            <a:extLst>
              <a:ext uri="{FF2B5EF4-FFF2-40B4-BE49-F238E27FC236}">
                <a16:creationId xmlns:a16="http://schemas.microsoft.com/office/drawing/2014/main" id="{50607B50-0DFD-43D3-A5C3-89FFA6E2640A}"/>
              </a:ext>
            </a:extLst>
          </p:cNvPr>
          <p:cNvSpPr/>
          <p:nvPr/>
        </p:nvSpPr>
        <p:spPr>
          <a:xfrm>
            <a:off x="10606058" y="4251820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1" name="Shape 312">
            <a:extLst>
              <a:ext uri="{FF2B5EF4-FFF2-40B4-BE49-F238E27FC236}">
                <a16:creationId xmlns:a16="http://schemas.microsoft.com/office/drawing/2014/main" id="{1CBF28AD-3F87-4D54-A33B-2F7938941FAD}"/>
              </a:ext>
            </a:extLst>
          </p:cNvPr>
          <p:cNvSpPr/>
          <p:nvPr/>
        </p:nvSpPr>
        <p:spPr>
          <a:xfrm>
            <a:off x="11117378" y="4251820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1300D489-377E-4A97-B41C-965DA92C4996}"/>
              </a:ext>
            </a:extLst>
          </p:cNvPr>
          <p:cNvSpPr/>
          <p:nvPr/>
        </p:nvSpPr>
        <p:spPr>
          <a:xfrm>
            <a:off x="196562" y="1434868"/>
            <a:ext cx="4940727" cy="31385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>
                <a:solidFill>
                  <a:srgbClr val="353535"/>
                </a:solidFill>
                <a:latin typeface="Segoe UI Semilight"/>
              </a:rPr>
              <a:t>For each copy run, you</a:t>
            </a:r>
            <a:r>
              <a:rPr lang="zh-CN" altLang="en-US" sz="1799">
                <a:solidFill>
                  <a:srgbClr val="353535"/>
                </a:solidFill>
                <a:latin typeface="Segoe UI Semilight"/>
              </a:rPr>
              <a:t> </a:t>
            </a:r>
            <a:r>
              <a:rPr lang="en-US" altLang="zh-CN" sz="1799">
                <a:solidFill>
                  <a:srgbClr val="353535"/>
                </a:solidFill>
                <a:latin typeface="Segoe UI Semilight"/>
              </a:rPr>
              <a:t>can</a:t>
            </a:r>
            <a:r>
              <a:rPr lang="en-US" sz="1799">
                <a:solidFill>
                  <a:srgbClr val="353535"/>
                </a:solidFill>
                <a:latin typeface="Segoe UI Semilight"/>
              </a:rPr>
              <a:t> specify how much resource to use for copy by </a:t>
            </a:r>
            <a:r>
              <a:rPr lang="en-US" sz="1799">
                <a:solidFill>
                  <a:srgbClr val="0070C0"/>
                </a:solidFill>
                <a:latin typeface="Segoe UI Semilight"/>
              </a:rPr>
              <a:t>Data Integration Units (DIUs)</a:t>
            </a: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endParaRPr lang="en-US" sz="1799">
              <a:solidFill>
                <a:srgbClr val="353535"/>
              </a:solidFill>
              <a:latin typeface="Segoe UI Semilight"/>
            </a:endParaRP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>
                <a:solidFill>
                  <a:srgbClr val="353535"/>
                </a:solidFill>
                <a:latin typeface="Segoe UI Semilight"/>
              </a:rPr>
              <a:t>DIU is a combination of CPU, memory, and network resource allocation.</a:t>
            </a:r>
          </a:p>
          <a:p>
            <a:pPr defTabSz="914126">
              <a:defRPr/>
            </a:pPr>
            <a:endParaRPr lang="en-US" sz="1799">
              <a:solidFill>
                <a:srgbClr val="0070C0"/>
              </a:solidFill>
              <a:latin typeface="Segoe UI Semilight"/>
            </a:endParaRP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>
                <a:solidFill>
                  <a:srgbClr val="353535"/>
                </a:solidFill>
                <a:latin typeface="Segoe UI Semilight"/>
              </a:rPr>
              <a:t>Default behavior based on your data pattern – larger file size &amp; file count, larger DIUs. </a:t>
            </a: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endParaRPr lang="en-US" sz="1799">
              <a:solidFill>
                <a:srgbClr val="353535"/>
              </a:solidFill>
              <a:latin typeface="Segoe UI Semilight"/>
            </a:endParaRP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>
                <a:solidFill>
                  <a:srgbClr val="353535"/>
                </a:solidFill>
                <a:latin typeface="Segoe UI Semilight"/>
              </a:rPr>
              <a:t>Serverless &amp; pay-as-you-go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8F7A8F24-B21A-40DD-94C6-BF4CB3875348}"/>
              </a:ext>
            </a:extLst>
          </p:cNvPr>
          <p:cNvCxnSpPr>
            <a:cxnSpLocks/>
            <a:stCxn id="29" idx="0"/>
          </p:cNvCxnSpPr>
          <p:nvPr/>
        </p:nvCxnSpPr>
        <p:spPr>
          <a:xfrm flipH="1" flipV="1">
            <a:off x="8436631" y="2583997"/>
            <a:ext cx="2123086" cy="1283276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le 1">
            <a:extLst>
              <a:ext uri="{FF2B5EF4-FFF2-40B4-BE49-F238E27FC236}">
                <a16:creationId xmlns:a16="http://schemas.microsoft.com/office/drawing/2014/main" id="{F9139A97-F0F2-4E22-9D53-9AA8054E57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758" y="290330"/>
            <a:ext cx="4794466" cy="899431"/>
          </a:xfrm>
        </p:spPr>
        <p:txBody>
          <a:bodyPr/>
          <a:lstStyle/>
          <a:p>
            <a:pPr defTabSz="913918"/>
            <a:r>
              <a:rPr lang="en-US" sz="3920" b="1">
                <a:solidFill>
                  <a:srgbClr val="0078D7"/>
                </a:solidFill>
                <a:latin typeface="Segoe UI Light (Headings)"/>
              </a:rPr>
              <a:t>Cloud-to-cloud Cop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2CE997D-B9BB-47B6-9F99-9A8AFDB8C4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8570" y="4774641"/>
            <a:ext cx="4777634" cy="82706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191185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5">
            <a:extLst>
              <a:ext uri="{FF2B5EF4-FFF2-40B4-BE49-F238E27FC236}">
                <a16:creationId xmlns:a16="http://schemas.microsoft.com/office/drawing/2014/main" id="{C94DB16D-BD12-474E-91F7-2B08993B681F}"/>
              </a:ext>
            </a:extLst>
          </p:cNvPr>
          <p:cNvSpPr>
            <a:spLocks noChangeAspect="1"/>
          </p:cNvSpPr>
          <p:nvPr/>
        </p:nvSpPr>
        <p:spPr bwMode="black">
          <a:xfrm>
            <a:off x="6096001" y="627773"/>
            <a:ext cx="5377148" cy="2165796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38" tIns="60919" rIns="121838" bIns="60919" numCol="1" anchor="t" anchorCtr="0" compatLnSpc="1">
            <a:prstTxWarp prst="textNoShape">
              <a:avLst/>
            </a:prstTxWarp>
          </a:bodyPr>
          <a:lstStyle/>
          <a:p>
            <a:pPr defTabSz="609102">
              <a:defRPr/>
            </a:pPr>
            <a:endParaRPr lang="en-US" sz="1176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005C6554-7033-4FD7-817B-04EE491AC890}"/>
              </a:ext>
            </a:extLst>
          </p:cNvPr>
          <p:cNvSpPr/>
          <p:nvPr/>
        </p:nvSpPr>
        <p:spPr bwMode="auto">
          <a:xfrm>
            <a:off x="6836399" y="2013584"/>
            <a:ext cx="4195083" cy="779987"/>
          </a:xfrm>
          <a:prstGeom prst="roundRect">
            <a:avLst/>
          </a:prstGeom>
          <a:solidFill>
            <a:srgbClr val="FFFFFF"/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algn="ctr" defTabSz="1242193">
              <a:defRPr/>
            </a:pPr>
            <a:r>
              <a:rPr lang="en-US" sz="1600" b="1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ADF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A95DAF6-04E2-4384-BB8B-B9B6B58E307A}"/>
              </a:ext>
            </a:extLst>
          </p:cNvPr>
          <p:cNvCxnSpPr>
            <a:cxnSpLocks/>
          </p:cNvCxnSpPr>
          <p:nvPr/>
        </p:nvCxnSpPr>
        <p:spPr>
          <a:xfrm>
            <a:off x="8964643" y="1646453"/>
            <a:ext cx="1" cy="357661"/>
          </a:xfrm>
          <a:prstGeom prst="straightConnector1">
            <a:avLst/>
          </a:prstGeom>
          <a:noFill/>
          <a:ln w="9525" cap="flat" cmpd="sng" algn="ctr">
            <a:solidFill>
              <a:srgbClr val="353535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6975588-CC78-4821-A755-6DCBF069CB7A}"/>
              </a:ext>
            </a:extLst>
          </p:cNvPr>
          <p:cNvSpPr/>
          <p:nvPr/>
        </p:nvSpPr>
        <p:spPr bwMode="auto">
          <a:xfrm>
            <a:off x="6842828" y="1327360"/>
            <a:ext cx="4195083" cy="295101"/>
          </a:xfrm>
          <a:prstGeom prst="roundRect">
            <a:avLst>
              <a:gd name="adj" fmla="val 29739"/>
            </a:avLst>
          </a:prstGeom>
          <a:solidFill>
            <a:srgbClr val="FFFFFF">
              <a:alpha val="64000"/>
            </a:srgbClr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algn="ctr" defTabSz="1242193">
              <a:defRPr/>
            </a:pPr>
            <a:r>
              <a:rPr lang="en-US" sz="1600" b="1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UX &amp; SDK</a:t>
            </a:r>
          </a:p>
        </p:txBody>
      </p:sp>
      <p:sp>
        <p:nvSpPr>
          <p:cNvPr id="31" name="Freeform 5">
            <a:extLst>
              <a:ext uri="{FF2B5EF4-FFF2-40B4-BE49-F238E27FC236}">
                <a16:creationId xmlns:a16="http://schemas.microsoft.com/office/drawing/2014/main" id="{3C2DF947-5B6C-4FFF-B652-4381D3CF9D4B}"/>
              </a:ext>
            </a:extLst>
          </p:cNvPr>
          <p:cNvSpPr>
            <a:spLocks noChangeAspect="1"/>
          </p:cNvSpPr>
          <p:nvPr/>
        </p:nvSpPr>
        <p:spPr bwMode="black">
          <a:xfrm>
            <a:off x="8821127" y="4213987"/>
            <a:ext cx="3233308" cy="2016550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38" tIns="60919" rIns="121838" bIns="60919" numCol="1" anchor="t" anchorCtr="0" compatLnSpc="1">
            <a:prstTxWarp prst="textNoShape">
              <a:avLst/>
            </a:prstTxWarp>
          </a:bodyPr>
          <a:lstStyle/>
          <a:p>
            <a:pPr defTabSz="609102">
              <a:defRPr/>
            </a:pPr>
            <a:endParaRPr lang="en-US" sz="1176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A34DF98-0853-4D4C-8813-D270DC447790}"/>
              </a:ext>
            </a:extLst>
          </p:cNvPr>
          <p:cNvSpPr/>
          <p:nvPr/>
        </p:nvSpPr>
        <p:spPr bwMode="auto">
          <a:xfrm>
            <a:off x="5928342" y="4585413"/>
            <a:ext cx="1432739" cy="498445"/>
          </a:xfrm>
          <a:prstGeom prst="rect">
            <a:avLst/>
          </a:prstGeom>
          <a:solidFill>
            <a:srgbClr val="0072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1242193">
              <a:defRPr/>
            </a:pPr>
            <a:r>
              <a:rPr lang="en-US" sz="1600" b="1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elf-hosted IR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D4E385F1-7A8F-436F-B6BA-18F11BABC1D0}"/>
              </a:ext>
            </a:extLst>
          </p:cNvPr>
          <p:cNvCxnSpPr>
            <a:cxnSpLocks/>
          </p:cNvCxnSpPr>
          <p:nvPr/>
        </p:nvCxnSpPr>
        <p:spPr>
          <a:xfrm flipH="1">
            <a:off x="5340534" y="401435"/>
            <a:ext cx="467621" cy="7985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24BF073-3D98-410B-9BC2-3F2270708AE0}"/>
              </a:ext>
            </a:extLst>
          </p:cNvPr>
          <p:cNvCxnSpPr>
            <a:cxnSpLocks/>
          </p:cNvCxnSpPr>
          <p:nvPr/>
        </p:nvCxnSpPr>
        <p:spPr>
          <a:xfrm flipH="1">
            <a:off x="5340533" y="737881"/>
            <a:ext cx="480158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095DFB61-8305-4F34-83B5-2F372E50C2F6}"/>
              </a:ext>
            </a:extLst>
          </p:cNvPr>
          <p:cNvSpPr txBox="1"/>
          <p:nvPr/>
        </p:nvSpPr>
        <p:spPr>
          <a:xfrm>
            <a:off x="5702352" y="156035"/>
            <a:ext cx="4195670" cy="506769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Command and Contro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F6B02B0-9284-4FF3-A830-26007B12745C}"/>
              </a:ext>
            </a:extLst>
          </p:cNvPr>
          <p:cNvSpPr txBox="1"/>
          <p:nvPr/>
        </p:nvSpPr>
        <p:spPr>
          <a:xfrm>
            <a:off x="5682006" y="499264"/>
            <a:ext cx="4195670" cy="506769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Data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B0EBD8C-E2A2-49A3-843B-1FDEB44EECCF}"/>
              </a:ext>
            </a:extLst>
          </p:cNvPr>
          <p:cNvSpPr/>
          <p:nvPr/>
        </p:nvSpPr>
        <p:spPr bwMode="auto">
          <a:xfrm>
            <a:off x="8004222" y="2287017"/>
            <a:ext cx="1920841" cy="41435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F3ED4035-BB56-4CE1-81A0-B153BC2E6A66}"/>
              </a:ext>
            </a:extLst>
          </p:cNvPr>
          <p:cNvSpPr/>
          <p:nvPr/>
        </p:nvSpPr>
        <p:spPr bwMode="auto">
          <a:xfrm>
            <a:off x="8323141" y="2453072"/>
            <a:ext cx="226981" cy="114172"/>
          </a:xfrm>
          <a:prstGeom prst="roundRect">
            <a:avLst/>
          </a:prstGeom>
          <a:solidFill>
            <a:srgbClr val="FFC000"/>
          </a:solidFill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9CE12454-6A3A-44CB-8D67-1D787B1EF79C}"/>
              </a:ext>
            </a:extLst>
          </p:cNvPr>
          <p:cNvSpPr/>
          <p:nvPr/>
        </p:nvSpPr>
        <p:spPr bwMode="auto">
          <a:xfrm>
            <a:off x="8739676" y="2449065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0B35D7E2-588A-4DC2-A2C6-A048A133C0C9}"/>
              </a:ext>
            </a:extLst>
          </p:cNvPr>
          <p:cNvSpPr/>
          <p:nvPr/>
        </p:nvSpPr>
        <p:spPr bwMode="auto">
          <a:xfrm>
            <a:off x="9172041" y="2357956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EC0A003E-7ECA-42FE-BF3B-18E9E6FDA764}"/>
              </a:ext>
            </a:extLst>
          </p:cNvPr>
          <p:cNvSpPr/>
          <p:nvPr/>
        </p:nvSpPr>
        <p:spPr bwMode="auto">
          <a:xfrm>
            <a:off x="9172041" y="2560209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0B356A6B-0164-4398-B570-A1F6B7F9F205}"/>
              </a:ext>
            </a:extLst>
          </p:cNvPr>
          <p:cNvCxnSpPr>
            <a:cxnSpLocks/>
            <a:endCxn id="62" idx="1"/>
          </p:cNvCxnSpPr>
          <p:nvPr/>
        </p:nvCxnSpPr>
        <p:spPr>
          <a:xfrm>
            <a:off x="8553692" y="2506151"/>
            <a:ext cx="185984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D7900D27-B01D-4B85-8C5D-1E15BD88A73B}"/>
              </a:ext>
            </a:extLst>
          </p:cNvPr>
          <p:cNvCxnSpPr>
            <a:cxnSpLocks/>
            <a:endCxn id="63" idx="1"/>
          </p:cNvCxnSpPr>
          <p:nvPr/>
        </p:nvCxnSpPr>
        <p:spPr>
          <a:xfrm flipV="1">
            <a:off x="8988932" y="2415043"/>
            <a:ext cx="183108" cy="10460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90E88328-F82C-4906-89F3-82B6B96A790E}"/>
              </a:ext>
            </a:extLst>
          </p:cNvPr>
          <p:cNvCxnSpPr>
            <a:cxnSpLocks/>
            <a:stCxn id="62" idx="3"/>
            <a:endCxn id="64" idx="1"/>
          </p:cNvCxnSpPr>
          <p:nvPr/>
        </p:nvCxnSpPr>
        <p:spPr>
          <a:xfrm>
            <a:off x="8966656" y="2506152"/>
            <a:ext cx="205384" cy="111144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3CDF9319-38AD-4685-9C5B-8916A03F6367}"/>
              </a:ext>
            </a:extLst>
          </p:cNvPr>
          <p:cNvSpPr/>
          <p:nvPr/>
        </p:nvSpPr>
        <p:spPr bwMode="auto">
          <a:xfrm>
            <a:off x="9565400" y="2557011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86231B9F-E3C5-4BEB-8C67-916D75FC05E2}"/>
              </a:ext>
            </a:extLst>
          </p:cNvPr>
          <p:cNvCxnSpPr>
            <a:cxnSpLocks/>
          </p:cNvCxnSpPr>
          <p:nvPr/>
        </p:nvCxnSpPr>
        <p:spPr>
          <a:xfrm>
            <a:off x="9416034" y="2627591"/>
            <a:ext cx="155107" cy="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64200DD0-D3DA-4CB7-B918-33C27B988E75}"/>
              </a:ext>
            </a:extLst>
          </p:cNvPr>
          <p:cNvCxnSpPr>
            <a:cxnSpLocks/>
            <a:stCxn id="58" idx="1"/>
            <a:endCxn id="91" idx="3"/>
          </p:cNvCxnSpPr>
          <p:nvPr/>
        </p:nvCxnSpPr>
        <p:spPr>
          <a:xfrm flipH="1" flipV="1">
            <a:off x="8464517" y="4545551"/>
            <a:ext cx="970359" cy="1318729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3" name="TextBox 122">
            <a:extLst>
              <a:ext uri="{FF2B5EF4-FFF2-40B4-BE49-F238E27FC236}">
                <a16:creationId xmlns:a16="http://schemas.microsoft.com/office/drawing/2014/main" id="{D5CDAE0F-0B5F-4F2E-8CA1-5BB4F041F851}"/>
              </a:ext>
            </a:extLst>
          </p:cNvPr>
          <p:cNvSpPr txBox="1"/>
          <p:nvPr/>
        </p:nvSpPr>
        <p:spPr>
          <a:xfrm>
            <a:off x="8011345" y="2288524"/>
            <a:ext cx="1554054" cy="1628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176">
                <a:solidFill>
                  <a:srgbClr val="737373"/>
                </a:solidFill>
                <a:latin typeface="Segoe UI Semilight"/>
                <a:cs typeface="Segoe UI" pitchFamily="34" charset="0"/>
              </a:rPr>
              <a:t>Pipeline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3BE2795-A704-445B-8FE3-CC61D41066E0}"/>
              </a:ext>
            </a:extLst>
          </p:cNvPr>
          <p:cNvSpPr/>
          <p:nvPr/>
        </p:nvSpPr>
        <p:spPr bwMode="auto">
          <a:xfrm>
            <a:off x="-3642" y="1867"/>
            <a:ext cx="5140930" cy="685524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9F24FA54-9ADC-46C9-8F5E-9E84F17A47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59717" y="2188123"/>
            <a:ext cx="425086" cy="425544"/>
          </a:xfrm>
          <a:prstGeom prst="rect">
            <a:avLst/>
          </a:prstGeom>
        </p:spPr>
      </p:pic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B71888BB-2D5B-457D-8D15-D4385E9B1996}"/>
              </a:ext>
            </a:extLst>
          </p:cNvPr>
          <p:cNvCxnSpPr>
            <a:cxnSpLocks/>
            <a:stCxn id="91" idx="1"/>
            <a:endCxn id="65" idx="3"/>
          </p:cNvCxnSpPr>
          <p:nvPr/>
        </p:nvCxnSpPr>
        <p:spPr>
          <a:xfrm flipH="1">
            <a:off x="7470946" y="4545549"/>
            <a:ext cx="494127" cy="1318364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8" name="Rounded Rectangle 8">
            <a:extLst>
              <a:ext uri="{FF2B5EF4-FFF2-40B4-BE49-F238E27FC236}">
                <a16:creationId xmlns:a16="http://schemas.microsoft.com/office/drawing/2014/main" id="{BF01306E-D157-4662-8FAC-9076B49B77AF}"/>
              </a:ext>
            </a:extLst>
          </p:cNvPr>
          <p:cNvSpPr/>
          <p:nvPr/>
        </p:nvSpPr>
        <p:spPr bwMode="auto">
          <a:xfrm>
            <a:off x="9434877" y="5629847"/>
            <a:ext cx="2249681" cy="468865"/>
          </a:xfrm>
          <a:prstGeom prst="roundRect">
            <a:avLst/>
          </a:prstGeom>
          <a:solidFill>
            <a:srgbClr val="4EB1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6" tIns="146246" rIns="182806" bIns="1462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0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Cloud Data Stores</a:t>
            </a:r>
          </a:p>
        </p:txBody>
      </p:sp>
      <p:sp>
        <p:nvSpPr>
          <p:cNvPr id="65" name="Rounded Rectangle 8">
            <a:extLst>
              <a:ext uri="{FF2B5EF4-FFF2-40B4-BE49-F238E27FC236}">
                <a16:creationId xmlns:a16="http://schemas.microsoft.com/office/drawing/2014/main" id="{11969639-7746-4D3E-82FE-3160CCC30BC5}"/>
              </a:ext>
            </a:extLst>
          </p:cNvPr>
          <p:cNvSpPr/>
          <p:nvPr/>
        </p:nvSpPr>
        <p:spPr bwMode="auto">
          <a:xfrm>
            <a:off x="5907415" y="5629481"/>
            <a:ext cx="1563531" cy="468865"/>
          </a:xfrm>
          <a:prstGeom prst="roundRect">
            <a:avLst/>
          </a:prstGeom>
          <a:solidFill>
            <a:srgbClr val="4EB1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6" tIns="146246" rIns="182806" bIns="1462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0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On-</a:t>
            </a:r>
            <a:r>
              <a:rPr lang="en-US" sz="1600" b="1" err="1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prem</a:t>
            </a:r>
            <a:r>
              <a:rPr lang="en-US" sz="1600" b="1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 Data Stores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B428AED6-AC8A-4C60-95B5-95562BCBDEC1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50000"/>
          </a:blip>
          <a:stretch>
            <a:fillRect/>
          </a:stretch>
        </p:blipFill>
        <p:spPr>
          <a:xfrm>
            <a:off x="5373390" y="5606840"/>
            <a:ext cx="388049" cy="481019"/>
          </a:xfrm>
          <a:prstGeom prst="rect">
            <a:avLst/>
          </a:prstGeom>
        </p:spPr>
      </p:pic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98B23F5F-9E66-489D-AF71-61BBB7E12B94}"/>
              </a:ext>
            </a:extLst>
          </p:cNvPr>
          <p:cNvSpPr/>
          <p:nvPr/>
        </p:nvSpPr>
        <p:spPr bwMode="auto">
          <a:xfrm>
            <a:off x="5533515" y="4224208"/>
            <a:ext cx="3016606" cy="1983661"/>
          </a:xfrm>
          <a:prstGeom prst="roundRect">
            <a:avLst/>
          </a:prstGeom>
          <a:noFill/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algn="ctr" defTabSz="1242193">
              <a:defRPr/>
            </a:pPr>
            <a:endParaRPr lang="en-US" sz="1372" b="1" kern="0">
              <a:solidFill>
                <a:srgbClr val="404040">
                  <a:lumMod val="75000"/>
                </a:srgbClr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F90F3E73-5A22-4749-82A0-D4D62CFAF012}"/>
              </a:ext>
            </a:extLst>
          </p:cNvPr>
          <p:cNvGrpSpPr/>
          <p:nvPr/>
        </p:nvGrpSpPr>
        <p:grpSpPr>
          <a:xfrm>
            <a:off x="6611293" y="3988572"/>
            <a:ext cx="1031352" cy="409075"/>
            <a:chOff x="1570037" y="2467828"/>
            <a:chExt cx="1052307" cy="417387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BDEA6D53-7402-4911-B73E-7E0CC8A0D4DB}"/>
                </a:ext>
              </a:extLst>
            </p:cNvPr>
            <p:cNvSpPr/>
            <p:nvPr/>
          </p:nvSpPr>
          <p:spPr bwMode="auto">
            <a:xfrm>
              <a:off x="1715190" y="2572174"/>
              <a:ext cx="762000" cy="208693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8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2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6" name="Graphic 55" descr="Table">
              <a:extLst>
                <a:ext uri="{FF2B5EF4-FFF2-40B4-BE49-F238E27FC236}">
                  <a16:creationId xmlns:a16="http://schemas.microsoft.com/office/drawing/2014/main" id="{5F06400D-C9C6-466B-AC81-43B56A8C29D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570037" y="2467828"/>
              <a:ext cx="1052307" cy="417387"/>
            </a:xfrm>
            <a:prstGeom prst="rect">
              <a:avLst/>
            </a:prstGeom>
          </p:spPr>
        </p:pic>
      </p:grpSp>
      <p:pic>
        <p:nvPicPr>
          <p:cNvPr id="60" name="Graphic 59" descr="Bonfire">
            <a:extLst>
              <a:ext uri="{FF2B5EF4-FFF2-40B4-BE49-F238E27FC236}">
                <a16:creationId xmlns:a16="http://schemas.microsoft.com/office/drawing/2014/main" id="{6D7BCDFE-2652-44A3-A7F7-1FA73358981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623725" y="3683300"/>
            <a:ext cx="412911" cy="412911"/>
          </a:xfrm>
          <a:prstGeom prst="rect">
            <a:avLst/>
          </a:prstGeom>
        </p:spPr>
      </p:pic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7A45403-FA1E-439A-AB26-24B0832D0047}"/>
              </a:ext>
            </a:extLst>
          </p:cNvPr>
          <p:cNvCxnSpPr>
            <a:cxnSpLocks/>
            <a:stCxn id="29" idx="0"/>
          </p:cNvCxnSpPr>
          <p:nvPr/>
        </p:nvCxnSpPr>
        <p:spPr>
          <a:xfrm flipV="1">
            <a:off x="6644710" y="2571738"/>
            <a:ext cx="1772538" cy="2013675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1" name="Picture 90">
            <a:extLst>
              <a:ext uri="{FF2B5EF4-FFF2-40B4-BE49-F238E27FC236}">
                <a16:creationId xmlns:a16="http://schemas.microsoft.com/office/drawing/2014/main" id="{BB7FBCF2-5949-4536-913D-8E93522A618B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965072" y="4341013"/>
            <a:ext cx="499444" cy="409075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D1BF0F7B-FDEB-4F54-ACE9-FF7142A360F3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965072" y="4795368"/>
            <a:ext cx="499444" cy="409075"/>
          </a:xfrm>
          <a:prstGeom prst="rect">
            <a:avLst/>
          </a:prstGeom>
        </p:spPr>
      </p:pic>
      <p:pic>
        <p:nvPicPr>
          <p:cNvPr id="93" name="Picture 92">
            <a:extLst>
              <a:ext uri="{FF2B5EF4-FFF2-40B4-BE49-F238E27FC236}">
                <a16:creationId xmlns:a16="http://schemas.microsoft.com/office/drawing/2014/main" id="{8563E6E3-F713-458B-B0D6-8595A81AC8D7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965072" y="5249724"/>
            <a:ext cx="499444" cy="409075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B9AE1FB3-E7AF-449B-AA3E-36A4011E1BBD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965072" y="5704080"/>
            <a:ext cx="499444" cy="409075"/>
          </a:xfrm>
          <a:prstGeom prst="rect">
            <a:avLst/>
          </a:prstGeom>
        </p:spPr>
      </p:pic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B1E5E1A2-5391-41CB-9A5F-438AC6958BC9}"/>
              </a:ext>
            </a:extLst>
          </p:cNvPr>
          <p:cNvCxnSpPr>
            <a:cxnSpLocks/>
            <a:stCxn id="91" idx="1"/>
            <a:endCxn id="29" idx="3"/>
          </p:cNvCxnSpPr>
          <p:nvPr/>
        </p:nvCxnSpPr>
        <p:spPr>
          <a:xfrm flipH="1">
            <a:off x="7361080" y="4545550"/>
            <a:ext cx="603993" cy="289086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2CD83AB7-C86C-4C43-ACCE-AC432519365B}"/>
              </a:ext>
            </a:extLst>
          </p:cNvPr>
          <p:cNvCxnSpPr>
            <a:cxnSpLocks/>
            <a:stCxn id="29" idx="3"/>
            <a:endCxn id="92" idx="1"/>
          </p:cNvCxnSpPr>
          <p:nvPr/>
        </p:nvCxnSpPr>
        <p:spPr>
          <a:xfrm>
            <a:off x="7361080" y="4834635"/>
            <a:ext cx="603993" cy="165270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85208332-6AC4-4C7B-9258-66DFE0FAA1C2}"/>
              </a:ext>
            </a:extLst>
          </p:cNvPr>
          <p:cNvCxnSpPr>
            <a:cxnSpLocks/>
            <a:stCxn id="29" idx="3"/>
            <a:endCxn id="93" idx="1"/>
          </p:cNvCxnSpPr>
          <p:nvPr/>
        </p:nvCxnSpPr>
        <p:spPr>
          <a:xfrm>
            <a:off x="7361080" y="4834635"/>
            <a:ext cx="603993" cy="619626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52C0A0DF-8907-480D-A2E7-8544DF970E7D}"/>
              </a:ext>
            </a:extLst>
          </p:cNvPr>
          <p:cNvCxnSpPr>
            <a:cxnSpLocks/>
            <a:stCxn id="94" idx="1"/>
            <a:endCxn id="29" idx="3"/>
          </p:cNvCxnSpPr>
          <p:nvPr/>
        </p:nvCxnSpPr>
        <p:spPr>
          <a:xfrm flipH="1" flipV="1">
            <a:off x="7361080" y="4834636"/>
            <a:ext cx="603993" cy="1073981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593516EB-E9ED-4BD7-8C2E-DB6244CDC08B}"/>
              </a:ext>
            </a:extLst>
          </p:cNvPr>
          <p:cNvCxnSpPr>
            <a:cxnSpLocks/>
            <a:stCxn id="92" idx="1"/>
            <a:endCxn id="65" idx="3"/>
          </p:cNvCxnSpPr>
          <p:nvPr/>
        </p:nvCxnSpPr>
        <p:spPr>
          <a:xfrm flipH="1">
            <a:off x="7470946" y="4999905"/>
            <a:ext cx="494127" cy="864008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45" name="Straight Arrow Connector 144">
            <a:extLst>
              <a:ext uri="{FF2B5EF4-FFF2-40B4-BE49-F238E27FC236}">
                <a16:creationId xmlns:a16="http://schemas.microsoft.com/office/drawing/2014/main" id="{EF3DA910-0F17-4146-967B-E95F2EFE8139}"/>
              </a:ext>
            </a:extLst>
          </p:cNvPr>
          <p:cNvCxnSpPr>
            <a:cxnSpLocks/>
            <a:stCxn id="93" idx="1"/>
            <a:endCxn id="65" idx="3"/>
          </p:cNvCxnSpPr>
          <p:nvPr/>
        </p:nvCxnSpPr>
        <p:spPr>
          <a:xfrm flipH="1">
            <a:off x="7470946" y="5454261"/>
            <a:ext cx="494127" cy="409652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48" name="Straight Arrow Connector 147">
            <a:extLst>
              <a:ext uri="{FF2B5EF4-FFF2-40B4-BE49-F238E27FC236}">
                <a16:creationId xmlns:a16="http://schemas.microsoft.com/office/drawing/2014/main" id="{29514B0B-1AB8-4767-9E10-E6E269B4F2A5}"/>
              </a:ext>
            </a:extLst>
          </p:cNvPr>
          <p:cNvCxnSpPr>
            <a:cxnSpLocks/>
            <a:stCxn id="94" idx="1"/>
            <a:endCxn id="65" idx="3"/>
          </p:cNvCxnSpPr>
          <p:nvPr/>
        </p:nvCxnSpPr>
        <p:spPr>
          <a:xfrm flipH="1" flipV="1">
            <a:off x="7470946" y="5863914"/>
            <a:ext cx="494127" cy="44703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1" name="Straight Arrow Connector 150">
            <a:extLst>
              <a:ext uri="{FF2B5EF4-FFF2-40B4-BE49-F238E27FC236}">
                <a16:creationId xmlns:a16="http://schemas.microsoft.com/office/drawing/2014/main" id="{097A37CD-2436-46D1-A0FE-90B452BC8C43}"/>
              </a:ext>
            </a:extLst>
          </p:cNvPr>
          <p:cNvCxnSpPr>
            <a:cxnSpLocks/>
            <a:stCxn id="58" idx="1"/>
            <a:endCxn id="92" idx="3"/>
          </p:cNvCxnSpPr>
          <p:nvPr/>
        </p:nvCxnSpPr>
        <p:spPr>
          <a:xfrm flipH="1" flipV="1">
            <a:off x="8464517" y="4999905"/>
            <a:ext cx="970359" cy="864374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9" name="Straight Arrow Connector 158">
            <a:extLst>
              <a:ext uri="{FF2B5EF4-FFF2-40B4-BE49-F238E27FC236}">
                <a16:creationId xmlns:a16="http://schemas.microsoft.com/office/drawing/2014/main" id="{DC59E39B-2852-4BBD-83ED-FC9829AD5345}"/>
              </a:ext>
            </a:extLst>
          </p:cNvPr>
          <p:cNvCxnSpPr>
            <a:cxnSpLocks/>
            <a:stCxn id="58" idx="1"/>
            <a:endCxn id="93" idx="3"/>
          </p:cNvCxnSpPr>
          <p:nvPr/>
        </p:nvCxnSpPr>
        <p:spPr>
          <a:xfrm flipH="1" flipV="1">
            <a:off x="8464517" y="5454261"/>
            <a:ext cx="970359" cy="410018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2" name="Straight Arrow Connector 161">
            <a:extLst>
              <a:ext uri="{FF2B5EF4-FFF2-40B4-BE49-F238E27FC236}">
                <a16:creationId xmlns:a16="http://schemas.microsoft.com/office/drawing/2014/main" id="{72EBEC76-B6FA-4FF7-94EF-D8798CB9097F}"/>
              </a:ext>
            </a:extLst>
          </p:cNvPr>
          <p:cNvCxnSpPr>
            <a:cxnSpLocks/>
            <a:stCxn id="58" idx="1"/>
            <a:endCxn id="94" idx="3"/>
          </p:cNvCxnSpPr>
          <p:nvPr/>
        </p:nvCxnSpPr>
        <p:spPr>
          <a:xfrm flipH="1">
            <a:off x="8464517" y="5864280"/>
            <a:ext cx="970359" cy="44337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BDCACB5E-7D1E-42CB-89D1-1094A4B63223}"/>
              </a:ext>
            </a:extLst>
          </p:cNvPr>
          <p:cNvSpPr/>
          <p:nvPr/>
        </p:nvSpPr>
        <p:spPr>
          <a:xfrm>
            <a:off x="158637" y="1367422"/>
            <a:ext cx="4940727" cy="36923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>
                <a:solidFill>
                  <a:srgbClr val="353535"/>
                </a:solidFill>
                <a:latin typeface="Segoe UI Semilight"/>
              </a:rPr>
              <a:t>For High Availability and scale-out, you can </a:t>
            </a:r>
            <a:r>
              <a:rPr lang="en-US" sz="1799">
                <a:solidFill>
                  <a:srgbClr val="0070C0"/>
                </a:solidFill>
                <a:latin typeface="Segoe UI Semilight"/>
              </a:rPr>
              <a:t>register up to 4 nodes to each self-hosted IR.</a:t>
            </a: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endParaRPr lang="en-US" sz="1799">
              <a:solidFill>
                <a:srgbClr val="353535"/>
              </a:solidFill>
              <a:latin typeface="Segoe UI Semilight"/>
            </a:endParaRP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altLang="zh-CN" sz="1799">
                <a:solidFill>
                  <a:srgbClr val="353535"/>
                </a:solidFill>
                <a:latin typeface="Segoe UI Semilight"/>
              </a:rPr>
              <a:t>For</a:t>
            </a:r>
            <a:r>
              <a:rPr lang="en-US" sz="1799">
                <a:solidFill>
                  <a:srgbClr val="353535"/>
                </a:solidFill>
                <a:latin typeface="Segoe UI Semilight"/>
              </a:rPr>
              <a:t> each IR node, you can control </a:t>
            </a:r>
            <a:r>
              <a:rPr lang="en-US" sz="1799">
                <a:solidFill>
                  <a:srgbClr val="0070C0"/>
                </a:solidFill>
                <a:latin typeface="Segoe UI Semilight"/>
              </a:rPr>
              <a:t># of activity runs to execute at the same time</a:t>
            </a:r>
            <a:r>
              <a:rPr lang="en-US" sz="1799">
                <a:solidFill>
                  <a:srgbClr val="353535"/>
                </a:solidFill>
                <a:latin typeface="Segoe UI Semilight"/>
              </a:rPr>
              <a:t>, default behavior is determined based on IR machine spec (CPU/memory).</a:t>
            </a: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endParaRPr lang="en-US" sz="1799">
              <a:solidFill>
                <a:srgbClr val="353535"/>
              </a:solidFill>
              <a:latin typeface="Segoe UI Semilight"/>
            </a:endParaRP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>
                <a:solidFill>
                  <a:srgbClr val="353535"/>
                </a:solidFill>
                <a:latin typeface="Segoe UI Semilight"/>
              </a:rPr>
              <a:t>Active-active mode: requests are dispatched to nodes using round-robin.</a:t>
            </a: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endParaRPr lang="en-US" sz="1799">
              <a:solidFill>
                <a:srgbClr val="353535"/>
              </a:solidFill>
              <a:latin typeface="Segoe UI Semilight"/>
            </a:endParaRP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>
                <a:solidFill>
                  <a:srgbClr val="353535"/>
                </a:solidFill>
                <a:latin typeface="Segoe UI Semilight"/>
              </a:rPr>
              <a:t>Jobs will be waiting in a queue if compacity is full, until available slot being freed up.</a:t>
            </a:r>
          </a:p>
        </p:txBody>
      </p:sp>
      <p:sp>
        <p:nvSpPr>
          <p:cNvPr id="68" name="Title 1">
            <a:extLst>
              <a:ext uri="{FF2B5EF4-FFF2-40B4-BE49-F238E27FC236}">
                <a16:creationId xmlns:a16="http://schemas.microsoft.com/office/drawing/2014/main" id="{52BB2947-F494-4FF9-A48C-ED6F18C019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758" y="290330"/>
            <a:ext cx="4794466" cy="899431"/>
          </a:xfrm>
        </p:spPr>
        <p:txBody>
          <a:bodyPr/>
          <a:lstStyle/>
          <a:p>
            <a:pPr defTabSz="913918"/>
            <a:r>
              <a:rPr lang="en-US" sz="3920" b="1">
                <a:solidFill>
                  <a:srgbClr val="0078D7"/>
                </a:solidFill>
                <a:latin typeface="Segoe UI Light (Headings)"/>
              </a:rPr>
              <a:t>Hybrid Copy</a:t>
            </a:r>
          </a:p>
        </p:txBody>
      </p:sp>
    </p:spTree>
    <p:extLst>
      <p:ext uri="{BB962C8B-B14F-4D97-AF65-F5344CB8AC3E}">
        <p14:creationId xmlns:p14="http://schemas.microsoft.com/office/powerpoint/2010/main" val="3312669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Title 1">
            <a:extLst>
              <a:ext uri="{FF2B5EF4-FFF2-40B4-BE49-F238E27FC236}">
                <a16:creationId xmlns:a16="http://schemas.microsoft.com/office/drawing/2014/main" id="{84835B3A-DD8E-43CC-93E1-30DC898654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10653"/>
            <a:ext cx="11655840" cy="899665"/>
          </a:xfrm>
        </p:spPr>
        <p:txBody>
          <a:bodyPr>
            <a:normAutofit/>
          </a:bodyPr>
          <a:lstStyle/>
          <a:p>
            <a:pPr defTabSz="913918"/>
            <a:r>
              <a:rPr lang="en-US" sz="3920" b="1">
                <a:solidFill>
                  <a:srgbClr val="0078D7"/>
                </a:solidFill>
                <a:latin typeface="Segoe UI Light (Headings)"/>
              </a:rPr>
              <a:t>Advanced Performance Optimization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4C45063-6CD9-4CA5-B62A-7528214A78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5563003"/>
              </p:ext>
            </p:extLst>
          </p:nvPr>
        </p:nvGraphicFramePr>
        <p:xfrm>
          <a:off x="408142" y="652754"/>
          <a:ext cx="11515777" cy="6075569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404632">
                  <a:extLst>
                    <a:ext uri="{9D8B030D-6E8A-4147-A177-3AD203B41FA5}">
                      <a16:colId xmlns:a16="http://schemas.microsoft.com/office/drawing/2014/main" val="2814221199"/>
                    </a:ext>
                  </a:extLst>
                </a:gridCol>
                <a:gridCol w="5272553">
                  <a:extLst>
                    <a:ext uri="{9D8B030D-6E8A-4147-A177-3AD203B41FA5}">
                      <a16:colId xmlns:a16="http://schemas.microsoft.com/office/drawing/2014/main" val="287142749"/>
                    </a:ext>
                  </a:extLst>
                </a:gridCol>
                <a:gridCol w="3838592">
                  <a:extLst>
                    <a:ext uri="{9D8B030D-6E8A-4147-A177-3AD203B41FA5}">
                      <a16:colId xmlns:a16="http://schemas.microsoft.com/office/drawing/2014/main" val="3497765145"/>
                    </a:ext>
                  </a:extLst>
                </a:gridCol>
              </a:tblGrid>
              <a:tr h="429730">
                <a:tc>
                  <a:txBody>
                    <a:bodyPr/>
                    <a:lstStyle/>
                    <a:p>
                      <a:r>
                        <a:rPr lang="en-US" sz="1600"/>
                        <a:t>Copy Scenari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Samp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3087476"/>
                  </a:ext>
                </a:extLst>
              </a:tr>
              <a:tr h="1541446">
                <a:tc>
                  <a:txBody>
                    <a:bodyPr/>
                    <a:lstStyle/>
                    <a:p>
                      <a:r>
                        <a:rPr lang="en-US" sz="1600"/>
                        <a:t>Loading from Azure Blob or ADLS into SQL D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Use </a:t>
                      </a:r>
                      <a:r>
                        <a:rPr lang="en-US" sz="1600" err="1"/>
                        <a:t>Polybase</a:t>
                      </a:r>
                      <a:r>
                        <a:rPr lang="en-US" sz="1600"/>
                        <a:t> instead of BULKINSERT.</a:t>
                      </a:r>
                    </a:p>
                    <a:p>
                      <a:r>
                        <a:rPr lang="en-US" sz="1600"/>
                        <a:t>Applicable when format is text, ORC, Parquet and meets </a:t>
                      </a:r>
                      <a:r>
                        <a:rPr lang="en-US" sz="1600">
                          <a:hlinkClick r:id="rId3"/>
                        </a:rPr>
                        <a:t>these criteria</a:t>
                      </a:r>
                      <a:r>
                        <a:rPr lang="en-US" sz="1600"/>
                        <a:t>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7425330"/>
                  </a:ext>
                </a:extLst>
              </a:tr>
              <a:tr h="1977887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600"/>
                        <a:t>Loading from data sources other than Azure Blob/ADLS into SQL D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Use staged copy via Azure Blo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2364421"/>
                  </a:ext>
                </a:extLst>
              </a:tr>
              <a:tr h="2126506">
                <a:tc>
                  <a:txBody>
                    <a:bodyPr/>
                    <a:lstStyle/>
                    <a:p>
                      <a:r>
                        <a:rPr lang="en-US" sz="1600"/>
                        <a:t>Loading data from Amazon Redshif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Use UNLOAD to copy data from Amazon Redshift to Amazon S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4689845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06E794B5-C79C-4367-802D-D77F353048C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8548" y="3422181"/>
            <a:ext cx="3936713" cy="72108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CE5D2D7-B535-45C0-8AC4-C77A278B462C}"/>
              </a:ext>
            </a:extLst>
          </p:cNvPr>
          <p:cNvSpPr/>
          <p:nvPr/>
        </p:nvSpPr>
        <p:spPr>
          <a:xfrm>
            <a:off x="8349731" y="1123718"/>
            <a:ext cx="324303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/>
              <a:t>"activities":[</a:t>
            </a:r>
          </a:p>
          <a:p>
            <a:r>
              <a:rPr lang="en-US" sz="900"/>
              <a:t>    {</a:t>
            </a:r>
          </a:p>
          <a:p>
            <a:r>
              <a:rPr lang="en-US" sz="900"/>
              <a:t>        "type": "Copy",</a:t>
            </a:r>
          </a:p>
          <a:p>
            <a:r>
              <a:rPr lang="en-US" sz="900"/>
              <a:t>        "</a:t>
            </a:r>
            <a:r>
              <a:rPr lang="en-US" sz="900" err="1"/>
              <a:t>typeProperties</a:t>
            </a:r>
            <a:r>
              <a:rPr lang="en-US" sz="900"/>
              <a:t>": {</a:t>
            </a:r>
          </a:p>
          <a:p>
            <a:r>
              <a:rPr lang="en-US" sz="900"/>
              <a:t>            "source": { "type": "</a:t>
            </a:r>
            <a:r>
              <a:rPr lang="en-US" sz="900" err="1"/>
              <a:t>BlobSource</a:t>
            </a:r>
            <a:r>
              <a:rPr lang="en-US" sz="900"/>
              <a:t>“ },</a:t>
            </a:r>
          </a:p>
          <a:p>
            <a:r>
              <a:rPr lang="en-US" sz="900"/>
              <a:t>            "sink": {</a:t>
            </a:r>
          </a:p>
          <a:p>
            <a:r>
              <a:rPr lang="en-US" sz="900"/>
              <a:t>                "type": "</a:t>
            </a:r>
            <a:r>
              <a:rPr lang="en-US" sz="900" err="1"/>
              <a:t>SqlDWSink</a:t>
            </a:r>
            <a:r>
              <a:rPr lang="en-US" sz="900"/>
              <a:t>",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"</a:t>
            </a:r>
            <a:r>
              <a:rPr lang="en-US" sz="900" b="1" err="1">
                <a:solidFill>
                  <a:srgbClr val="C00000"/>
                </a:solidFill>
              </a:rPr>
              <a:t>allowPolyBase</a:t>
            </a:r>
            <a:r>
              <a:rPr lang="en-US" sz="900" b="1">
                <a:solidFill>
                  <a:srgbClr val="C00000"/>
                </a:solidFill>
              </a:rPr>
              <a:t>": true</a:t>
            </a:r>
          </a:p>
          <a:p>
            <a:r>
              <a:rPr lang="en-US" sz="900"/>
              <a:t>            } } }</a:t>
            </a:r>
          </a:p>
          <a:p>
            <a:r>
              <a:rPr lang="en-US" sz="900"/>
              <a:t>]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1F5310F-1B5B-4C6D-B541-492600E4DD8E}"/>
              </a:ext>
            </a:extLst>
          </p:cNvPr>
          <p:cNvSpPr/>
          <p:nvPr/>
        </p:nvSpPr>
        <p:spPr>
          <a:xfrm>
            <a:off x="8349731" y="2654824"/>
            <a:ext cx="3048000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/>
              <a:t>"activities":[</a:t>
            </a:r>
          </a:p>
          <a:p>
            <a:r>
              <a:rPr lang="en-US" sz="900"/>
              <a:t>    {</a:t>
            </a:r>
          </a:p>
          <a:p>
            <a:r>
              <a:rPr lang="en-US" sz="900"/>
              <a:t>        "</a:t>
            </a:r>
            <a:r>
              <a:rPr lang="en-US" sz="900" err="1"/>
              <a:t>typeProperties</a:t>
            </a:r>
            <a:r>
              <a:rPr lang="en-US" sz="900"/>
              <a:t>": {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"</a:t>
            </a:r>
            <a:r>
              <a:rPr lang="en-US" sz="900" b="1" err="1">
                <a:solidFill>
                  <a:srgbClr val="C00000"/>
                </a:solidFill>
              </a:rPr>
              <a:t>enableStaging</a:t>
            </a:r>
            <a:r>
              <a:rPr lang="en-US" sz="900" b="1">
                <a:solidFill>
                  <a:srgbClr val="C00000"/>
                </a:solidFill>
              </a:rPr>
              <a:t>": true,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"</a:t>
            </a:r>
            <a:r>
              <a:rPr lang="en-US" sz="900" b="1" err="1">
                <a:solidFill>
                  <a:srgbClr val="C00000"/>
                </a:solidFill>
              </a:rPr>
              <a:t>stagingSettings</a:t>
            </a:r>
            <a:r>
              <a:rPr lang="en-US" sz="900" b="1">
                <a:solidFill>
                  <a:srgbClr val="C00000"/>
                </a:solidFill>
              </a:rPr>
              <a:t>": {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"</a:t>
            </a:r>
            <a:r>
              <a:rPr lang="en-US" sz="900" b="1" err="1">
                <a:solidFill>
                  <a:srgbClr val="C00000"/>
                </a:solidFill>
              </a:rPr>
              <a:t>linkedServiceName</a:t>
            </a:r>
            <a:r>
              <a:rPr lang="en-US" sz="900" b="1">
                <a:solidFill>
                  <a:srgbClr val="C00000"/>
                </a:solidFill>
              </a:rPr>
              <a:t>": {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    "</a:t>
            </a:r>
            <a:r>
              <a:rPr lang="en-US" sz="900" b="1" err="1">
                <a:solidFill>
                  <a:srgbClr val="C00000"/>
                </a:solidFill>
              </a:rPr>
              <a:t>referenceName</a:t>
            </a:r>
            <a:r>
              <a:rPr lang="en-US" sz="900" b="1">
                <a:solidFill>
                  <a:srgbClr val="C00000"/>
                </a:solidFill>
              </a:rPr>
              <a:t>": "</a:t>
            </a:r>
            <a:r>
              <a:rPr lang="en-US" sz="900" b="1" err="1">
                <a:solidFill>
                  <a:srgbClr val="C00000"/>
                </a:solidFill>
              </a:rPr>
              <a:t>MyStagingBlob</a:t>
            </a:r>
            <a:r>
              <a:rPr lang="en-US" sz="900" b="1">
                <a:solidFill>
                  <a:srgbClr val="C00000"/>
                </a:solidFill>
              </a:rPr>
              <a:t>",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    "type": "</a:t>
            </a:r>
            <a:r>
              <a:rPr lang="en-US" sz="900" b="1" err="1">
                <a:solidFill>
                  <a:srgbClr val="C00000"/>
                </a:solidFill>
              </a:rPr>
              <a:t>LinkedServiceReference</a:t>
            </a:r>
            <a:r>
              <a:rPr lang="en-US" sz="900" b="1">
                <a:solidFill>
                  <a:srgbClr val="C00000"/>
                </a:solidFill>
              </a:rPr>
              <a:t>"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},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"path": "</a:t>
            </a:r>
            <a:r>
              <a:rPr lang="en-US" sz="900" b="1" err="1">
                <a:solidFill>
                  <a:srgbClr val="C00000"/>
                </a:solidFill>
              </a:rPr>
              <a:t>stagingcontainer</a:t>
            </a:r>
            <a:r>
              <a:rPr lang="en-US" sz="900" b="1">
                <a:solidFill>
                  <a:srgbClr val="C00000"/>
                </a:solidFill>
              </a:rPr>
              <a:t>/path",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"</a:t>
            </a:r>
            <a:r>
              <a:rPr lang="en-US" sz="900" b="1" err="1">
                <a:solidFill>
                  <a:srgbClr val="C00000"/>
                </a:solidFill>
              </a:rPr>
              <a:t>enableCompression</a:t>
            </a:r>
            <a:r>
              <a:rPr lang="en-US" sz="900" b="1">
                <a:solidFill>
                  <a:srgbClr val="C00000"/>
                </a:solidFill>
              </a:rPr>
              <a:t>": true</a:t>
            </a:r>
          </a:p>
          <a:p>
            <a:r>
              <a:rPr lang="en-US" sz="900"/>
              <a:t>            } } }</a:t>
            </a:r>
          </a:p>
          <a:p>
            <a:r>
              <a:rPr lang="en-US" sz="900"/>
              <a:t>]</a:t>
            </a:r>
          </a:p>
        </p:txBody>
      </p:sp>
      <p:pic>
        <p:nvPicPr>
          <p:cNvPr id="12" name="Picture 11" descr="A screenshot of a cell phone&#10;&#10;Description generated with high confidence">
            <a:extLst>
              <a:ext uri="{FF2B5EF4-FFF2-40B4-BE49-F238E27FC236}">
                <a16:creationId xmlns:a16="http://schemas.microsoft.com/office/drawing/2014/main" id="{580A9F64-B1F9-484B-A131-A1BF911F3DA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7566" y="5528261"/>
            <a:ext cx="5131507" cy="809677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34F5BA3A-D60C-4864-AEF9-E4B5EAABB981}"/>
              </a:ext>
            </a:extLst>
          </p:cNvPr>
          <p:cNvSpPr/>
          <p:nvPr/>
        </p:nvSpPr>
        <p:spPr>
          <a:xfrm>
            <a:off x="8349731" y="4587405"/>
            <a:ext cx="3332922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/>
              <a:t>"activities":[</a:t>
            </a:r>
          </a:p>
          <a:p>
            <a:r>
              <a:rPr lang="en-US" sz="900"/>
              <a:t>    {</a:t>
            </a:r>
          </a:p>
          <a:p>
            <a:r>
              <a:rPr lang="en-US" sz="900"/>
              <a:t>        "</a:t>
            </a:r>
            <a:r>
              <a:rPr lang="en-US" sz="900" err="1"/>
              <a:t>typeProperties</a:t>
            </a:r>
            <a:r>
              <a:rPr lang="en-US" sz="900"/>
              <a:t>": {</a:t>
            </a:r>
          </a:p>
          <a:p>
            <a:r>
              <a:rPr lang="en-US" sz="900"/>
              <a:t>            "source": {</a:t>
            </a:r>
          </a:p>
          <a:p>
            <a:r>
              <a:rPr lang="en-US" sz="900"/>
              <a:t>                "type": "</a:t>
            </a:r>
            <a:r>
              <a:rPr lang="en-US" sz="900" err="1"/>
              <a:t>AmazonRedshiftSource</a:t>
            </a:r>
            <a:r>
              <a:rPr lang="en-US" sz="900"/>
              <a:t>",</a:t>
            </a:r>
          </a:p>
          <a:p>
            <a:r>
              <a:rPr lang="en-US" sz="900"/>
              <a:t>                "query": "select * from </a:t>
            </a:r>
            <a:r>
              <a:rPr lang="en-US" sz="900" err="1"/>
              <a:t>MyTable</a:t>
            </a:r>
            <a:r>
              <a:rPr lang="en-US" sz="900"/>
              <a:t>",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"</a:t>
            </a:r>
            <a:r>
              <a:rPr lang="en-US" sz="900" b="1" err="1">
                <a:solidFill>
                  <a:srgbClr val="C00000"/>
                </a:solidFill>
              </a:rPr>
              <a:t>redshiftUnloadSettings</a:t>
            </a:r>
            <a:r>
              <a:rPr lang="en-US" sz="900" b="1">
                <a:solidFill>
                  <a:srgbClr val="C00000"/>
                </a:solidFill>
              </a:rPr>
              <a:t>": {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    "s3LinkedServiceName": {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        "</a:t>
            </a:r>
            <a:r>
              <a:rPr lang="en-US" sz="900" b="1" err="1">
                <a:solidFill>
                  <a:srgbClr val="C00000"/>
                </a:solidFill>
              </a:rPr>
              <a:t>referenceName</a:t>
            </a:r>
            <a:r>
              <a:rPr lang="en-US" sz="900" b="1">
                <a:solidFill>
                  <a:srgbClr val="C00000"/>
                </a:solidFill>
              </a:rPr>
              <a:t>": "AmazonS3LinkedService",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        "type": "</a:t>
            </a:r>
            <a:r>
              <a:rPr lang="en-US" sz="900" b="1" err="1">
                <a:solidFill>
                  <a:srgbClr val="C00000"/>
                </a:solidFill>
              </a:rPr>
              <a:t>LinkedServiceReference</a:t>
            </a:r>
            <a:r>
              <a:rPr lang="en-US" sz="900" b="1">
                <a:solidFill>
                  <a:srgbClr val="C00000"/>
                </a:solidFill>
              </a:rPr>
              <a:t>"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    },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    "</a:t>
            </a:r>
            <a:r>
              <a:rPr lang="en-US" sz="900" b="1" err="1">
                <a:solidFill>
                  <a:srgbClr val="C00000"/>
                </a:solidFill>
              </a:rPr>
              <a:t>bucketName</a:t>
            </a:r>
            <a:r>
              <a:rPr lang="en-US" sz="900" b="1">
                <a:solidFill>
                  <a:srgbClr val="C00000"/>
                </a:solidFill>
              </a:rPr>
              <a:t>": "</a:t>
            </a:r>
            <a:r>
              <a:rPr lang="en-US" sz="900" b="1" err="1">
                <a:solidFill>
                  <a:srgbClr val="C00000"/>
                </a:solidFill>
              </a:rPr>
              <a:t>bucketForUnload</a:t>
            </a:r>
            <a:r>
              <a:rPr lang="en-US" sz="900" b="1">
                <a:solidFill>
                  <a:srgbClr val="C00000"/>
                </a:solidFill>
              </a:rPr>
              <a:t>"</a:t>
            </a:r>
          </a:p>
          <a:p>
            <a:r>
              <a:rPr lang="en-US" sz="900"/>
              <a:t>                }</a:t>
            </a:r>
          </a:p>
          <a:p>
            <a:r>
              <a:rPr lang="en-US" sz="900"/>
              <a:t>            },</a:t>
            </a:r>
          </a:p>
          <a:p>
            <a:r>
              <a:rPr lang="en-US" sz="90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2551723729"/>
      </p:ext>
    </p:extLst>
  </p:cSld>
  <p:clrMapOvr>
    <a:masterClrMapping/>
  </p:clrMapOvr>
  <p:transition spd="med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1">
            <a:extLst>
              <a:ext uri="{FF2B5EF4-FFF2-40B4-BE49-F238E27FC236}">
                <a16:creationId xmlns:a16="http://schemas.microsoft.com/office/drawing/2014/main" id="{CF26B265-9834-4B81-80EB-16C9BBDDAC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6561" y="155051"/>
            <a:ext cx="10511370" cy="1150645"/>
          </a:xfrm>
        </p:spPr>
        <p:txBody>
          <a:bodyPr>
            <a:normAutofit/>
          </a:bodyPr>
          <a:lstStyle/>
          <a:p>
            <a:pPr defTabSz="913918"/>
            <a:r>
              <a:rPr lang="en-US" sz="3920" b="1">
                <a:solidFill>
                  <a:srgbClr val="0078D7"/>
                </a:solidFill>
                <a:latin typeface="Segoe UI Light (Headings)"/>
              </a:rPr>
              <a:t>Security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B6E3A5D5-6FAD-4FA3-9A02-406F8EBEA03A}"/>
              </a:ext>
            </a:extLst>
          </p:cNvPr>
          <p:cNvSpPr txBox="1"/>
          <p:nvPr/>
        </p:nvSpPr>
        <p:spPr>
          <a:xfrm>
            <a:off x="883007" y="1705609"/>
            <a:ext cx="4798873" cy="1323439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defTabSz="8962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uthenticate to Azure data services </a:t>
            </a:r>
            <a:r>
              <a:rPr lang="en-US" sz="1600">
                <a:solidFill>
                  <a:srgbClr val="505050"/>
                </a:solidFill>
                <a:latin typeface="Segoe UI Semilight"/>
              </a:rPr>
              <a:t>using Managed Service Identify (MSI) or Service Principal</a:t>
            </a:r>
          </a:p>
          <a:p>
            <a:pPr defTabSz="8962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>
              <a:solidFill>
                <a:srgbClr val="505050"/>
              </a:solidFill>
              <a:latin typeface="Segoe UI Semilight"/>
            </a:endParaRPr>
          </a:p>
          <a:p>
            <a:pPr defTabSz="8962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uthenticate to external data stores </a:t>
            </a:r>
            <a:r>
              <a:rPr lang="en-US" sz="1600">
                <a:solidFill>
                  <a:srgbClr val="505050"/>
                </a:solidFill>
                <a:latin typeface="Segoe UI Semilight"/>
              </a:rPr>
              <a:t>using basic auth, key-based auth, or Windows auth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1C2A9143-0CF3-415D-88A8-76169FAF0B5C}"/>
              </a:ext>
            </a:extLst>
          </p:cNvPr>
          <p:cNvSpPr txBox="1"/>
          <p:nvPr/>
        </p:nvSpPr>
        <p:spPr>
          <a:xfrm>
            <a:off x="883008" y="1336954"/>
            <a:ext cx="2903359" cy="3693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defRPr/>
            </a:pPr>
            <a:r>
              <a:rPr lang="en-US" b="1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UTHENTICATION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94AB17DD-BD3E-4CB3-8CC1-6EFBCCA02E2E}"/>
              </a:ext>
            </a:extLst>
          </p:cNvPr>
          <p:cNvCxnSpPr>
            <a:cxnSpLocks/>
          </p:cNvCxnSpPr>
          <p:nvPr/>
        </p:nvCxnSpPr>
        <p:spPr>
          <a:xfrm>
            <a:off x="5867400" y="838200"/>
            <a:ext cx="0" cy="5486400"/>
          </a:xfrm>
          <a:prstGeom prst="line">
            <a:avLst/>
          </a:prstGeom>
          <a:noFill/>
          <a:ln w="9525" cap="flat" cmpd="sng" algn="ctr">
            <a:solidFill>
              <a:srgbClr val="0078D7"/>
            </a:solidFill>
            <a:prstDash val="solid"/>
          </a:ln>
          <a:effectLst/>
        </p:spPr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68B0488B-39D7-48F9-9930-40B02BB7E46A}"/>
              </a:ext>
            </a:extLst>
          </p:cNvPr>
          <p:cNvCxnSpPr>
            <a:cxnSpLocks/>
          </p:cNvCxnSpPr>
          <p:nvPr/>
        </p:nvCxnSpPr>
        <p:spPr>
          <a:xfrm>
            <a:off x="838200" y="3800736"/>
            <a:ext cx="10515600" cy="0"/>
          </a:xfrm>
          <a:prstGeom prst="line">
            <a:avLst/>
          </a:prstGeom>
          <a:noFill/>
          <a:ln w="9525" cap="flat" cmpd="sng" algn="ctr">
            <a:solidFill>
              <a:srgbClr val="0078D7"/>
            </a:solidFill>
            <a:prstDash val="solid"/>
          </a:ln>
          <a:effectLst/>
        </p:spPr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A36C3A77-1937-4B72-B14C-017956CA6F0E}"/>
              </a:ext>
            </a:extLst>
          </p:cNvPr>
          <p:cNvSpPr txBox="1"/>
          <p:nvPr/>
        </p:nvSpPr>
        <p:spPr>
          <a:xfrm>
            <a:off x="6394492" y="4474590"/>
            <a:ext cx="5348068" cy="1850010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 b="1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 is encrypted at rest </a:t>
            </a:r>
            <a:r>
              <a:rPr lang="en-US" sz="1600">
                <a:solidFill>
                  <a:srgbClr val="505050"/>
                </a:solidFill>
                <a:latin typeface="Segoe UI Semilight"/>
              </a:rPr>
              <a:t>by leveraging data store’s encryption mechanisms:</a:t>
            </a:r>
          </a:p>
          <a:p>
            <a:pPr marL="285750" indent="-285750" defTabSz="914093">
              <a:lnSpc>
                <a:spcPct val="90000"/>
              </a:lnSpc>
              <a:spcAft>
                <a:spcPts val="588"/>
              </a:spcAft>
              <a:buFontTx/>
              <a:buChar char="-"/>
              <a:defRPr/>
            </a:pPr>
            <a:r>
              <a:rPr lang="en-US" sz="1600">
                <a:solidFill>
                  <a:srgbClr val="505050"/>
                </a:solidFill>
                <a:latin typeface="Segoe UI Semilight"/>
              </a:rPr>
              <a:t>Transparent Data Encryption (TDE) in Azure SQL Data Warehouse and Azure SQL Database</a:t>
            </a:r>
          </a:p>
          <a:p>
            <a:pPr marL="285750" indent="-285750" defTabSz="914093">
              <a:lnSpc>
                <a:spcPct val="90000"/>
              </a:lnSpc>
              <a:spcAft>
                <a:spcPts val="588"/>
              </a:spcAft>
              <a:buFontTx/>
              <a:buChar char="-"/>
              <a:defRPr/>
            </a:pPr>
            <a:r>
              <a:rPr lang="en-US" sz="1600">
                <a:solidFill>
                  <a:srgbClr val="505050"/>
                </a:solidFill>
                <a:latin typeface="Segoe UI Semilight"/>
              </a:rPr>
              <a:t>Storage Service Encryption (SSE) for Azure Storage</a:t>
            </a:r>
          </a:p>
          <a:p>
            <a:pPr marL="285750" indent="-285750" defTabSz="914093">
              <a:lnSpc>
                <a:spcPct val="90000"/>
              </a:lnSpc>
              <a:spcAft>
                <a:spcPts val="588"/>
              </a:spcAft>
              <a:buFontTx/>
              <a:buChar char="-"/>
              <a:defRPr/>
            </a:pPr>
            <a:r>
              <a:rPr lang="en-US" sz="1600">
                <a:solidFill>
                  <a:srgbClr val="505050"/>
                </a:solidFill>
                <a:latin typeface="Segoe UI Semilight"/>
              </a:rPr>
              <a:t>Automatic encryption for ADLS, etc.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1C3C20EF-E458-49F0-B376-616492DC4448}"/>
              </a:ext>
            </a:extLst>
          </p:cNvPr>
          <p:cNvSpPr txBox="1"/>
          <p:nvPr/>
        </p:nvSpPr>
        <p:spPr>
          <a:xfrm>
            <a:off x="505887" y="6064178"/>
            <a:ext cx="3657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>
                <a:solidFill>
                  <a:srgbClr val="404040"/>
                </a:solidFill>
                <a:latin typeface="Segoe UI"/>
              </a:rPr>
              <a:t>Refer to </a:t>
            </a:r>
            <a:r>
              <a:rPr lang="en-US" sz="1400" i="1">
                <a:solidFill>
                  <a:srgbClr val="404040"/>
                </a:solidFill>
                <a:latin typeface="Segoe UI"/>
                <a:hlinkClick r:id="rId3"/>
              </a:rPr>
              <a:t>this TechNet article</a:t>
            </a:r>
            <a:r>
              <a:rPr lang="en-US" sz="1400" i="1">
                <a:solidFill>
                  <a:srgbClr val="404040"/>
                </a:solidFill>
                <a:latin typeface="Segoe UI"/>
              </a:rPr>
              <a:t> for the list of compliances that ADF is certified for.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CDC112D-8A3F-455E-9A3F-2F48B5DEB050}"/>
              </a:ext>
            </a:extLst>
          </p:cNvPr>
          <p:cNvSpPr txBox="1"/>
          <p:nvPr/>
        </p:nvSpPr>
        <p:spPr>
          <a:xfrm>
            <a:off x="6394492" y="1336954"/>
            <a:ext cx="3384192" cy="3693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defRPr/>
            </a:pPr>
            <a:r>
              <a:rPr lang="en-US" b="1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REDENTIAL MANAGEMENT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2665403D-F61C-4855-ADBD-1718BF161F66}"/>
              </a:ext>
            </a:extLst>
          </p:cNvPr>
          <p:cNvSpPr txBox="1"/>
          <p:nvPr/>
        </p:nvSpPr>
        <p:spPr>
          <a:xfrm>
            <a:off x="6394493" y="1714611"/>
            <a:ext cx="5035507" cy="181588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defTabSz="8962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Recommended: store credentials in Azure Key Vault </a:t>
            </a:r>
            <a:r>
              <a:rPr lang="en-US" sz="1600">
                <a:solidFill>
                  <a:srgbClr val="505050"/>
                </a:solidFill>
                <a:latin typeface="Segoe UI Semilight"/>
              </a:rPr>
              <a:t>and reference key vault secret from ADF</a:t>
            </a:r>
          </a:p>
          <a:p>
            <a:pPr defTabSz="8962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>
              <a:solidFill>
                <a:srgbClr val="505050"/>
              </a:solidFill>
              <a:latin typeface="Segoe UI Semilight"/>
            </a:endParaRPr>
          </a:p>
          <a:p>
            <a:pPr defTabSz="8962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lternatively: supply credential inline in Linked Service </a:t>
            </a:r>
            <a:r>
              <a:rPr lang="en-US" sz="1600">
                <a:solidFill>
                  <a:srgbClr val="505050"/>
                </a:solidFill>
                <a:latin typeface="Segoe UI Semilight"/>
              </a:rPr>
              <a:t>and ADF will encrypt it at rest:</a:t>
            </a:r>
          </a:p>
          <a:p>
            <a:pPr marL="285750" indent="-285750" defTabSz="896214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en-US" sz="1600">
                <a:solidFill>
                  <a:srgbClr val="505050"/>
                </a:solidFill>
                <a:latin typeface="Segoe UI Semilight"/>
              </a:rPr>
              <a:t>Cloud creds are encrypted by ADF-managed certs</a:t>
            </a:r>
          </a:p>
          <a:p>
            <a:pPr marL="285750" indent="-285750" defTabSz="896214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en-US" sz="1600">
                <a:solidFill>
                  <a:srgbClr val="505050"/>
                </a:solidFill>
                <a:latin typeface="Segoe UI Semilight"/>
              </a:rPr>
              <a:t>On-prem creds are encrypted by Windows DPAPI)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FDA61E5E-5237-4C8E-AEDD-AE33314820ED}"/>
              </a:ext>
            </a:extLst>
          </p:cNvPr>
          <p:cNvSpPr txBox="1"/>
          <p:nvPr/>
        </p:nvSpPr>
        <p:spPr>
          <a:xfrm>
            <a:off x="883007" y="4516588"/>
            <a:ext cx="4798873" cy="75713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 b="1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 is transferred through secure channel HTTPS/TLS (V1.2) </a:t>
            </a:r>
            <a:r>
              <a:rPr lang="en-US" sz="1600">
                <a:solidFill>
                  <a:srgbClr val="505050"/>
                </a:solidFill>
                <a:latin typeface="Segoe UI Semilight"/>
              </a:rPr>
              <a:t>if data store supports HTTPS or TLS.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E543D8F8-D3A3-42EA-8077-D61828447B15}"/>
              </a:ext>
            </a:extLst>
          </p:cNvPr>
          <p:cNvSpPr txBox="1"/>
          <p:nvPr/>
        </p:nvSpPr>
        <p:spPr>
          <a:xfrm>
            <a:off x="883007" y="4136700"/>
            <a:ext cx="3766270" cy="3693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defRPr/>
            </a:pPr>
            <a:r>
              <a:rPr lang="en-US" b="1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 ENCRYPTION IN TRANSIT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37A9611B-D82C-4F68-A1E9-1BC0D8E51F06}"/>
              </a:ext>
            </a:extLst>
          </p:cNvPr>
          <p:cNvSpPr txBox="1"/>
          <p:nvPr/>
        </p:nvSpPr>
        <p:spPr>
          <a:xfrm>
            <a:off x="6394492" y="4133580"/>
            <a:ext cx="3766270" cy="3693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defRPr/>
            </a:pPr>
            <a:r>
              <a:rPr lang="en-US" b="1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 ENCRYPTION AT REST</a:t>
            </a:r>
          </a:p>
        </p:txBody>
      </p:sp>
    </p:spTree>
    <p:extLst>
      <p:ext uri="{BB962C8B-B14F-4D97-AF65-F5344CB8AC3E}">
        <p14:creationId xmlns:p14="http://schemas.microsoft.com/office/powerpoint/2010/main" val="1178330709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55001" y="1892300"/>
            <a:ext cx="5940999" cy="1375535"/>
          </a:xfrm>
          <a:ln>
            <a:solidFill>
              <a:srgbClr val="0086AC"/>
            </a:solidFill>
          </a:ln>
        </p:spPr>
        <p:txBody>
          <a:bodyPr/>
          <a:lstStyle/>
          <a:p>
            <a:r>
              <a:rPr lang="en-US" sz="4400"/>
              <a:t>Ingesting Data into Azure using Azure Data Factor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301" y="4207495"/>
            <a:ext cx="5826699" cy="2331618"/>
          </a:xfrm>
        </p:spPr>
        <p:txBody>
          <a:bodyPr/>
          <a:lstStyle/>
          <a:p>
            <a:r>
              <a:rPr lang="en-US" dirty="0"/>
              <a:t>Jan Remko Yntema</a:t>
            </a:r>
          </a:p>
          <a:p>
            <a:r>
              <a:rPr lang="en-US" dirty="0"/>
              <a:t>Data Architect</a:t>
            </a:r>
          </a:p>
          <a:p>
            <a:r>
              <a:rPr lang="en-US" dirty="0" err="1"/>
              <a:t>Ilionx</a:t>
            </a:r>
            <a:endParaRPr lang="en-US" dirty="0"/>
          </a:p>
          <a:p>
            <a:endParaRPr lang="en-US" dirty="0"/>
          </a:p>
          <a:p>
            <a:r>
              <a:rPr lang="en-US" sz="2800" dirty="0"/>
              <a:t>jryntema@ilionx.com</a:t>
            </a:r>
          </a:p>
        </p:txBody>
      </p:sp>
    </p:spTree>
    <p:extLst>
      <p:ext uri="{BB962C8B-B14F-4D97-AF65-F5344CB8AC3E}">
        <p14:creationId xmlns:p14="http://schemas.microsoft.com/office/powerpoint/2010/main" val="2777298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8DE24E2-D124-4042-89D2-4E4CF627321D}"/>
              </a:ext>
            </a:extLst>
          </p:cNvPr>
          <p:cNvSpPr/>
          <p:nvPr/>
        </p:nvSpPr>
        <p:spPr>
          <a:xfrm>
            <a:off x="637524" y="1652169"/>
            <a:ext cx="3805696" cy="4629223"/>
          </a:xfrm>
          <a:prstGeom prst="rect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CBAB26C-C870-4F02-BC66-D5E41AF9A439}"/>
              </a:ext>
            </a:extLst>
          </p:cNvPr>
          <p:cNvSpPr/>
          <p:nvPr/>
        </p:nvSpPr>
        <p:spPr>
          <a:xfrm>
            <a:off x="5784656" y="1652170"/>
            <a:ext cx="5608534" cy="4629223"/>
          </a:xfrm>
          <a:prstGeom prst="rect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21EE0BF-CDBD-4083-953A-F650FC5E991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99557" y="5933325"/>
            <a:ext cx="454112" cy="73061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BEEDED4-01C4-4277-BAAB-F4547A8566A3}"/>
              </a:ext>
            </a:extLst>
          </p:cNvPr>
          <p:cNvSpPr/>
          <p:nvPr/>
        </p:nvSpPr>
        <p:spPr>
          <a:xfrm>
            <a:off x="1249068" y="2139733"/>
            <a:ext cx="2657581" cy="3678847"/>
          </a:xfrm>
          <a:prstGeom prst="rect">
            <a:avLst/>
          </a:prstGeom>
          <a:ln w="15875">
            <a:solidFill>
              <a:schemeClr val="accent1"/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AC4710B-5CE9-410E-8B1C-FB22D0BF9D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5885" y="5521279"/>
            <a:ext cx="486548" cy="39777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73A7973-A024-423A-955A-A59A871F9EF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39694" y="4240221"/>
            <a:ext cx="503926" cy="65233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AF00D78-A029-4BEA-A24D-89335779EC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0297" y="4384121"/>
            <a:ext cx="503926" cy="65233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731B5FF1-38D7-4E89-9F16-3933963C4AE7}"/>
              </a:ext>
            </a:extLst>
          </p:cNvPr>
          <p:cNvSpPr txBox="1"/>
          <p:nvPr/>
        </p:nvSpPr>
        <p:spPr>
          <a:xfrm>
            <a:off x="934725" y="5851707"/>
            <a:ext cx="1287380" cy="430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Corporate Firewall Boundary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79D5C46-E407-40AB-91D8-0706F3F4B1D9}"/>
              </a:ext>
            </a:extLst>
          </p:cNvPr>
          <p:cNvSpPr txBox="1"/>
          <p:nvPr/>
        </p:nvSpPr>
        <p:spPr>
          <a:xfrm>
            <a:off x="1827506" y="5182306"/>
            <a:ext cx="909509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Data store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5533553-1E1B-4891-B3B1-18D6891A637F}"/>
              </a:ext>
            </a:extLst>
          </p:cNvPr>
          <p:cNvSpPr txBox="1"/>
          <p:nvPr/>
        </p:nvSpPr>
        <p:spPr>
          <a:xfrm>
            <a:off x="3380693" y="4326770"/>
            <a:ext cx="11109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Self-hosted IR on premises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26195EEF-9854-45D9-9374-C3ADCDDA0500}"/>
              </a:ext>
            </a:extLst>
          </p:cNvPr>
          <p:cNvSpPr txBox="1"/>
          <p:nvPr/>
        </p:nvSpPr>
        <p:spPr>
          <a:xfrm>
            <a:off x="9435122" y="5093318"/>
            <a:ext cx="848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HDInsigh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3801B77-4E67-4830-A6AB-33D74BAA5A38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988066" y="5917090"/>
            <a:ext cx="729823" cy="746845"/>
          </a:xfrm>
          <a:prstGeom prst="rect">
            <a:avLst/>
          </a:prstGeom>
        </p:spPr>
      </p:pic>
      <p:pic>
        <p:nvPicPr>
          <p:cNvPr id="1221" name="Picture 1220">
            <a:extLst>
              <a:ext uri="{FF2B5EF4-FFF2-40B4-BE49-F238E27FC236}">
                <a16:creationId xmlns:a16="http://schemas.microsoft.com/office/drawing/2014/main" id="{0F1417BC-1407-43AB-A715-8BA201E3BA1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82098" y="4456145"/>
            <a:ext cx="707812" cy="708575"/>
          </a:xfrm>
          <a:prstGeom prst="rect">
            <a:avLst/>
          </a:prstGeom>
        </p:spPr>
      </p:pic>
      <p:pic>
        <p:nvPicPr>
          <p:cNvPr id="1229" name="Picture 1228">
            <a:extLst>
              <a:ext uri="{FF2B5EF4-FFF2-40B4-BE49-F238E27FC236}">
                <a16:creationId xmlns:a16="http://schemas.microsoft.com/office/drawing/2014/main" id="{67EA0156-4076-4159-9C12-F6473C15F7B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27890" y="4428765"/>
            <a:ext cx="601213" cy="664555"/>
          </a:xfrm>
          <a:prstGeom prst="rect">
            <a:avLst/>
          </a:prstGeom>
        </p:spPr>
      </p:pic>
      <p:pic>
        <p:nvPicPr>
          <p:cNvPr id="1230" name="Picture 1229">
            <a:extLst>
              <a:ext uri="{FF2B5EF4-FFF2-40B4-BE49-F238E27FC236}">
                <a16:creationId xmlns:a16="http://schemas.microsoft.com/office/drawing/2014/main" id="{2960305D-A317-4B0A-A2AF-8651140B4A3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22322" y="2146242"/>
            <a:ext cx="567139" cy="567750"/>
          </a:xfrm>
          <a:prstGeom prst="rect">
            <a:avLst/>
          </a:prstGeom>
        </p:spPr>
      </p:pic>
      <p:sp>
        <p:nvSpPr>
          <p:cNvPr id="249" name="TextBox 248">
            <a:extLst>
              <a:ext uri="{FF2B5EF4-FFF2-40B4-BE49-F238E27FC236}">
                <a16:creationId xmlns:a16="http://schemas.microsoft.com/office/drawing/2014/main" id="{BF797EDB-12C8-4780-85C7-B84F81354704}"/>
              </a:ext>
            </a:extLst>
          </p:cNvPr>
          <p:cNvSpPr txBox="1"/>
          <p:nvPr/>
        </p:nvSpPr>
        <p:spPr>
          <a:xfrm>
            <a:off x="7968783" y="2747154"/>
            <a:ext cx="938119" cy="430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Data Factory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41667FF4-DDDC-4E6A-8B66-2EC066BE5F4D}"/>
              </a:ext>
            </a:extLst>
          </p:cNvPr>
          <p:cNvSpPr txBox="1"/>
          <p:nvPr/>
        </p:nvSpPr>
        <p:spPr>
          <a:xfrm>
            <a:off x="7382453" y="5111559"/>
            <a:ext cx="1105442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Azure SQL DB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95E952F4-9713-4FA4-8FA0-B31F577A5609}"/>
              </a:ext>
            </a:extLst>
          </p:cNvPr>
          <p:cNvSpPr txBox="1"/>
          <p:nvPr/>
        </p:nvSpPr>
        <p:spPr>
          <a:xfrm>
            <a:off x="8360167" y="5102438"/>
            <a:ext cx="1105442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Azure SQL DW</a:t>
            </a: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371C9BBF-BC07-4FAA-999C-E1E01231EB47}"/>
              </a:ext>
            </a:extLst>
          </p:cNvPr>
          <p:cNvSpPr txBox="1"/>
          <p:nvPr/>
        </p:nvSpPr>
        <p:spPr>
          <a:xfrm>
            <a:off x="7529603" y="5373026"/>
            <a:ext cx="781468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FFFFFF"/>
                </a:solidFill>
                <a:latin typeface="Segoe UI"/>
              </a:rPr>
              <a:t>VNet ACL</a:t>
            </a:r>
          </a:p>
        </p:txBody>
      </p:sp>
      <p:pic>
        <p:nvPicPr>
          <p:cNvPr id="1234" name="Picture 1233">
            <a:extLst>
              <a:ext uri="{FF2B5EF4-FFF2-40B4-BE49-F238E27FC236}">
                <a16:creationId xmlns:a16="http://schemas.microsoft.com/office/drawing/2014/main" id="{20A66531-6362-4FE8-BA88-11CA22F31F8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33606" y="4501830"/>
            <a:ext cx="647531" cy="562434"/>
          </a:xfrm>
          <a:prstGeom prst="rect">
            <a:avLst/>
          </a:prstGeom>
        </p:spPr>
      </p:pic>
      <p:sp>
        <p:nvSpPr>
          <p:cNvPr id="260" name="TextBox 259">
            <a:extLst>
              <a:ext uri="{FF2B5EF4-FFF2-40B4-BE49-F238E27FC236}">
                <a16:creationId xmlns:a16="http://schemas.microsoft.com/office/drawing/2014/main" id="{E3F936EC-DDB2-4D78-A1D7-0EE015221925}"/>
              </a:ext>
            </a:extLst>
          </p:cNvPr>
          <p:cNvSpPr txBox="1"/>
          <p:nvPr/>
        </p:nvSpPr>
        <p:spPr>
          <a:xfrm>
            <a:off x="6375439" y="5111559"/>
            <a:ext cx="1105442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Azure Storage</a:t>
            </a:r>
          </a:p>
        </p:txBody>
      </p:sp>
      <p:pic>
        <p:nvPicPr>
          <p:cNvPr id="1236" name="Picture 1235">
            <a:extLst>
              <a:ext uri="{FF2B5EF4-FFF2-40B4-BE49-F238E27FC236}">
                <a16:creationId xmlns:a16="http://schemas.microsoft.com/office/drawing/2014/main" id="{157EE181-A6B5-459B-9322-884F5E25B06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839694" y="2876538"/>
            <a:ext cx="637808" cy="481673"/>
          </a:xfrm>
          <a:prstGeom prst="rect">
            <a:avLst/>
          </a:prstGeom>
        </p:spPr>
      </p:pic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2206370D-C168-4006-A5DE-37D45605287E}"/>
              </a:ext>
            </a:extLst>
          </p:cNvPr>
          <p:cNvCxnSpPr>
            <a:cxnSpLocks/>
            <a:stCxn id="236" idx="3"/>
            <a:endCxn id="1230" idx="1"/>
          </p:cNvCxnSpPr>
          <p:nvPr/>
        </p:nvCxnSpPr>
        <p:spPr>
          <a:xfrm flipV="1">
            <a:off x="3699245" y="2430118"/>
            <a:ext cx="4423077" cy="1540498"/>
          </a:xfrm>
          <a:prstGeom prst="bentConnector3">
            <a:avLst>
              <a:gd name="adj1" fmla="val 80553"/>
            </a:avLst>
          </a:prstGeom>
          <a:ln w="15875">
            <a:headEnd type="triangle" w="lg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7" name="Group 236">
            <a:extLst>
              <a:ext uri="{FF2B5EF4-FFF2-40B4-BE49-F238E27FC236}">
                <a16:creationId xmlns:a16="http://schemas.microsoft.com/office/drawing/2014/main" id="{BF976DF4-282F-4B0A-8F3A-37E99F8C2C2D}"/>
              </a:ext>
            </a:extLst>
          </p:cNvPr>
          <p:cNvGrpSpPr/>
          <p:nvPr/>
        </p:nvGrpSpPr>
        <p:grpSpPr>
          <a:xfrm>
            <a:off x="3057494" y="3693818"/>
            <a:ext cx="804099" cy="665132"/>
            <a:chOff x="4755848" y="3687485"/>
            <a:chExt cx="804308" cy="665305"/>
          </a:xfrm>
        </p:grpSpPr>
        <p:pic>
          <p:nvPicPr>
            <p:cNvPr id="236" name="Picture 235">
              <a:extLst>
                <a:ext uri="{FF2B5EF4-FFF2-40B4-BE49-F238E27FC236}">
                  <a16:creationId xmlns:a16="http://schemas.microsoft.com/office/drawing/2014/main" id="{1B5DDB19-8165-419F-83FD-D62C09A13C7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4755848" y="3687485"/>
              <a:ext cx="641917" cy="553737"/>
            </a:xfrm>
            <a:prstGeom prst="rect">
              <a:avLst/>
            </a:prstGeom>
          </p:spPr>
        </p:pic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30458BDE-9F40-4FB7-823D-0BE1D02D7D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125623" y="3975790"/>
              <a:ext cx="434533" cy="377000"/>
            </a:xfrm>
            <a:prstGeom prst="rect">
              <a:avLst/>
            </a:prstGeom>
          </p:spPr>
        </p:pic>
      </p:grpSp>
      <p:cxnSp>
        <p:nvCxnSpPr>
          <p:cNvPr id="76" name="Connector: Elbow 75">
            <a:extLst>
              <a:ext uri="{FF2B5EF4-FFF2-40B4-BE49-F238E27FC236}">
                <a16:creationId xmlns:a16="http://schemas.microsoft.com/office/drawing/2014/main" id="{79B815A8-A4B2-45D9-A8B9-F891D3F6C5C1}"/>
              </a:ext>
            </a:extLst>
          </p:cNvPr>
          <p:cNvCxnSpPr>
            <a:cxnSpLocks/>
            <a:stCxn id="236" idx="0"/>
            <a:endCxn id="1236" idx="3"/>
          </p:cNvCxnSpPr>
          <p:nvPr/>
        </p:nvCxnSpPr>
        <p:spPr>
          <a:xfrm rot="16200000" flipV="1">
            <a:off x="2639715" y="2955164"/>
            <a:ext cx="576445" cy="900867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Connector: Elbow 78">
            <a:extLst>
              <a:ext uri="{FF2B5EF4-FFF2-40B4-BE49-F238E27FC236}">
                <a16:creationId xmlns:a16="http://schemas.microsoft.com/office/drawing/2014/main" id="{93BDDB47-2404-4890-9099-7F8DA2BE8308}"/>
              </a:ext>
            </a:extLst>
          </p:cNvPr>
          <p:cNvCxnSpPr>
            <a:cxnSpLocks/>
            <a:stCxn id="236" idx="2"/>
          </p:cNvCxnSpPr>
          <p:nvPr/>
        </p:nvCxnSpPr>
        <p:spPr>
          <a:xfrm rot="5400000">
            <a:off x="2796809" y="3984825"/>
            <a:ext cx="318975" cy="844146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10C2879B-CB1B-4459-9A7D-5131FE880DED}"/>
              </a:ext>
            </a:extLst>
          </p:cNvPr>
          <p:cNvCxnSpPr>
            <a:cxnSpLocks/>
            <a:stCxn id="71" idx="3"/>
            <a:endCxn id="1234" idx="0"/>
          </p:cNvCxnSpPr>
          <p:nvPr/>
        </p:nvCxnSpPr>
        <p:spPr>
          <a:xfrm>
            <a:off x="3861593" y="4170499"/>
            <a:ext cx="3095779" cy="331331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Connector: Elbow 85">
            <a:extLst>
              <a:ext uri="{FF2B5EF4-FFF2-40B4-BE49-F238E27FC236}">
                <a16:creationId xmlns:a16="http://schemas.microsoft.com/office/drawing/2014/main" id="{E87B1090-CA6D-49CD-A850-32EC018C88FC}"/>
              </a:ext>
            </a:extLst>
          </p:cNvPr>
          <p:cNvCxnSpPr>
            <a:cxnSpLocks/>
            <a:endCxn id="1221" idx="0"/>
          </p:cNvCxnSpPr>
          <p:nvPr/>
        </p:nvCxnSpPr>
        <p:spPr>
          <a:xfrm>
            <a:off x="3875660" y="4179110"/>
            <a:ext cx="4060344" cy="277035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nector: Elbow 88">
            <a:extLst>
              <a:ext uri="{FF2B5EF4-FFF2-40B4-BE49-F238E27FC236}">
                <a16:creationId xmlns:a16="http://schemas.microsoft.com/office/drawing/2014/main" id="{101E42EA-07F6-43E1-ACE4-FED5FABDF670}"/>
              </a:ext>
            </a:extLst>
          </p:cNvPr>
          <p:cNvCxnSpPr>
            <a:cxnSpLocks/>
            <a:stCxn id="71" idx="3"/>
            <a:endCxn id="1229" idx="0"/>
          </p:cNvCxnSpPr>
          <p:nvPr/>
        </p:nvCxnSpPr>
        <p:spPr>
          <a:xfrm>
            <a:off x="3861593" y="4170499"/>
            <a:ext cx="4966904" cy="258266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nector: Elbow 96">
            <a:extLst>
              <a:ext uri="{FF2B5EF4-FFF2-40B4-BE49-F238E27FC236}">
                <a16:creationId xmlns:a16="http://schemas.microsoft.com/office/drawing/2014/main" id="{9453069C-9E3B-4AC5-83C4-1C3525E30F26}"/>
              </a:ext>
            </a:extLst>
          </p:cNvPr>
          <p:cNvCxnSpPr>
            <a:cxnSpLocks/>
            <a:endCxn id="37" idx="0"/>
          </p:cNvCxnSpPr>
          <p:nvPr/>
        </p:nvCxnSpPr>
        <p:spPr>
          <a:xfrm>
            <a:off x="4947598" y="4179160"/>
            <a:ext cx="4942964" cy="278852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itle 1">
            <a:extLst>
              <a:ext uri="{FF2B5EF4-FFF2-40B4-BE49-F238E27FC236}">
                <a16:creationId xmlns:a16="http://schemas.microsoft.com/office/drawing/2014/main" id="{0BCBD213-7F52-4D2C-B32F-B85CBB4F7A3F}"/>
              </a:ext>
            </a:extLst>
          </p:cNvPr>
          <p:cNvSpPr txBox="1">
            <a:spLocks/>
          </p:cNvSpPr>
          <p:nvPr/>
        </p:nvSpPr>
        <p:spPr>
          <a:xfrm>
            <a:off x="196561" y="155051"/>
            <a:ext cx="10511370" cy="1150645"/>
          </a:xfrm>
          <a:prstGeom prst="rect">
            <a:avLst/>
          </a:prstGeom>
        </p:spPr>
        <p:txBody>
          <a:bodyPr>
            <a:normAutofit fontScale="40000" lnSpcReduction="20000"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3918">
              <a:lnSpc>
                <a:spcPct val="110000"/>
              </a:lnSpc>
            </a:pPr>
            <a:r>
              <a:rPr lang="en-US" sz="8300" b="1">
                <a:solidFill>
                  <a:srgbClr val="0078D7"/>
                </a:solidFill>
                <a:latin typeface="Segoe UI Light (Headings)"/>
              </a:rPr>
              <a:t>Hybrid Integration Between On-prem and Public Azure</a:t>
            </a:r>
          </a:p>
          <a:p>
            <a:pPr defTabSz="914093"/>
            <a:endParaRPr lang="en-US" sz="5098">
              <a:gradFill>
                <a:gsLst>
                  <a:gs pos="1250">
                    <a:srgbClr val="404040"/>
                  </a:gs>
                  <a:gs pos="100000">
                    <a:srgbClr val="404040"/>
                  </a:gs>
                </a:gsLst>
                <a:lin ang="5400000" scaled="0"/>
              </a:gradFill>
              <a:latin typeface="Segoe UI Light"/>
            </a:endParaRPr>
          </a:p>
          <a:p>
            <a:pPr defTabSz="914093"/>
            <a:r>
              <a:rPr lang="en-US" sz="7000">
                <a:gradFill>
                  <a:gsLst>
                    <a:gs pos="125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latin typeface="Segoe UI Light"/>
              </a:rPr>
              <a:t>Self-hosted IR deployed on premises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CD5A4021-1C0D-402E-8688-4369CD7EBED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384661" y="4458012"/>
            <a:ext cx="1011801" cy="650069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DD6E6FE0-D601-4D7C-87D4-6CBB4B6D02A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340017" y="4434560"/>
            <a:ext cx="710383" cy="608265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EC7AFE73-36AA-4C33-BA5A-ECBBC451F9C2}"/>
              </a:ext>
            </a:extLst>
          </p:cNvPr>
          <p:cNvSpPr txBox="1"/>
          <p:nvPr/>
        </p:nvSpPr>
        <p:spPr>
          <a:xfrm>
            <a:off x="10270838" y="5093318"/>
            <a:ext cx="848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Databricks</a:t>
            </a:r>
          </a:p>
        </p:txBody>
      </p:sp>
      <p:cxnSp>
        <p:nvCxnSpPr>
          <p:cNvPr id="41" name="Connector: Elbow 40">
            <a:extLst>
              <a:ext uri="{FF2B5EF4-FFF2-40B4-BE49-F238E27FC236}">
                <a16:creationId xmlns:a16="http://schemas.microsoft.com/office/drawing/2014/main" id="{6105F216-77D6-426C-92F6-50668C5F5D37}"/>
              </a:ext>
            </a:extLst>
          </p:cNvPr>
          <p:cNvCxnSpPr>
            <a:cxnSpLocks/>
            <a:stCxn id="71" idx="3"/>
            <a:endCxn id="38" idx="0"/>
          </p:cNvCxnSpPr>
          <p:nvPr/>
        </p:nvCxnSpPr>
        <p:spPr>
          <a:xfrm>
            <a:off x="3861593" y="4170499"/>
            <a:ext cx="6833616" cy="264061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9680348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8DE24E2-D124-4042-89D2-4E4CF627321D}"/>
              </a:ext>
            </a:extLst>
          </p:cNvPr>
          <p:cNvSpPr/>
          <p:nvPr/>
        </p:nvSpPr>
        <p:spPr>
          <a:xfrm>
            <a:off x="637524" y="1652169"/>
            <a:ext cx="3805696" cy="4629223"/>
          </a:xfrm>
          <a:prstGeom prst="rect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CBAB26C-C870-4F02-BC66-D5E41AF9A439}"/>
              </a:ext>
            </a:extLst>
          </p:cNvPr>
          <p:cNvSpPr/>
          <p:nvPr/>
        </p:nvSpPr>
        <p:spPr>
          <a:xfrm>
            <a:off x="5679564" y="1652170"/>
            <a:ext cx="5713627" cy="4629223"/>
          </a:xfrm>
          <a:prstGeom prst="rect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21EE0BF-CDBD-4083-953A-F650FC5E991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99557" y="5933325"/>
            <a:ext cx="454112" cy="73061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BEEDED4-01C4-4277-BAAB-F4547A8566A3}"/>
              </a:ext>
            </a:extLst>
          </p:cNvPr>
          <p:cNvSpPr/>
          <p:nvPr/>
        </p:nvSpPr>
        <p:spPr>
          <a:xfrm>
            <a:off x="1249068" y="2139733"/>
            <a:ext cx="2657581" cy="3678847"/>
          </a:xfrm>
          <a:prstGeom prst="rect">
            <a:avLst/>
          </a:prstGeom>
          <a:ln w="15875">
            <a:solidFill>
              <a:schemeClr val="accent1"/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AC4710B-5CE9-410E-8B1C-FB22D0BF9D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5885" y="5521279"/>
            <a:ext cx="486548" cy="39777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73A7973-A024-423A-955A-A59A871F9EF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20033" y="4026384"/>
            <a:ext cx="503926" cy="65233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AF00D78-A029-4BEA-A24D-89335779EC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10636" y="4170285"/>
            <a:ext cx="503926" cy="65233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731B5FF1-38D7-4E89-9F16-3933963C4AE7}"/>
              </a:ext>
            </a:extLst>
          </p:cNvPr>
          <p:cNvSpPr txBox="1"/>
          <p:nvPr/>
        </p:nvSpPr>
        <p:spPr>
          <a:xfrm>
            <a:off x="934725" y="5851707"/>
            <a:ext cx="1287380" cy="430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Corporate Firewall Boundar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F9E4EED-A5AC-46CB-B841-853A09311992}"/>
              </a:ext>
            </a:extLst>
          </p:cNvPr>
          <p:cNvSpPr/>
          <p:nvPr/>
        </p:nvSpPr>
        <p:spPr>
          <a:xfrm>
            <a:off x="6212119" y="3742016"/>
            <a:ext cx="4779259" cy="2076564"/>
          </a:xfrm>
          <a:prstGeom prst="rect">
            <a:avLst/>
          </a:prstGeom>
          <a:ln w="15875">
            <a:solidFill>
              <a:schemeClr val="accent1"/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CD81EBDA-155F-457B-AD21-17E89FE64D9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91904" y="5521280"/>
            <a:ext cx="898963" cy="654497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F09F0334-D3BB-49AA-843D-EDBF47B4836B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033833" y="4003485"/>
            <a:ext cx="669005" cy="547957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FD4564CC-F199-4210-89B9-E3BBE27CFBF0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479054" y="4316510"/>
            <a:ext cx="434420" cy="376902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DEA81003-0CC9-4C15-9AF7-148BEC5E1B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43690" y="4885364"/>
            <a:ext cx="669005" cy="547957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758C5673-5C8F-4E8F-96AE-80B34B51F3D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37194" y="5224515"/>
            <a:ext cx="269339" cy="339212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C79D5C46-E407-40AB-91D8-0706F3F4B1D9}"/>
              </a:ext>
            </a:extLst>
          </p:cNvPr>
          <p:cNvSpPr txBox="1"/>
          <p:nvPr/>
        </p:nvSpPr>
        <p:spPr>
          <a:xfrm>
            <a:off x="2107845" y="4968470"/>
            <a:ext cx="909509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Data store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1C0E2AA-8868-49B0-AC07-8A1F034B4342}"/>
              </a:ext>
            </a:extLst>
          </p:cNvPr>
          <p:cNvSpPr txBox="1"/>
          <p:nvPr/>
        </p:nvSpPr>
        <p:spPr>
          <a:xfrm>
            <a:off x="6710909" y="5504580"/>
            <a:ext cx="1287380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Data store on VM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5533553-1E1B-4891-B3B1-18D6891A637F}"/>
              </a:ext>
            </a:extLst>
          </p:cNvPr>
          <p:cNvSpPr txBox="1"/>
          <p:nvPr/>
        </p:nvSpPr>
        <p:spPr>
          <a:xfrm>
            <a:off x="7895070" y="4645965"/>
            <a:ext cx="1287380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ADF IR on VM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26195EEF-9854-45D9-9374-C3ADCDDA0500}"/>
              </a:ext>
            </a:extLst>
          </p:cNvPr>
          <p:cNvSpPr txBox="1"/>
          <p:nvPr/>
        </p:nvSpPr>
        <p:spPr>
          <a:xfrm>
            <a:off x="9083081" y="5485022"/>
            <a:ext cx="1287380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HDInsigh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3801B77-4E67-4830-A6AB-33D74BAA5A38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988066" y="5917090"/>
            <a:ext cx="729823" cy="746845"/>
          </a:xfrm>
          <a:prstGeom prst="rect">
            <a:avLst/>
          </a:prstGeom>
        </p:spPr>
      </p:pic>
      <p:sp>
        <p:nvSpPr>
          <p:cNvPr id="235" name="Rectangle 234">
            <a:extLst>
              <a:ext uri="{FF2B5EF4-FFF2-40B4-BE49-F238E27FC236}">
                <a16:creationId xmlns:a16="http://schemas.microsoft.com/office/drawing/2014/main" id="{BA41ADEA-48F1-41F1-8190-8EB449D50638}"/>
              </a:ext>
            </a:extLst>
          </p:cNvPr>
          <p:cNvSpPr/>
          <p:nvPr/>
        </p:nvSpPr>
        <p:spPr>
          <a:xfrm>
            <a:off x="8002674" y="1909560"/>
            <a:ext cx="2988702" cy="1092762"/>
          </a:xfrm>
          <a:prstGeom prst="rect">
            <a:avLst/>
          </a:prstGeom>
          <a:noFill/>
          <a:ln w="158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1221" name="Picture 1220">
            <a:extLst>
              <a:ext uri="{FF2B5EF4-FFF2-40B4-BE49-F238E27FC236}">
                <a16:creationId xmlns:a16="http://schemas.microsoft.com/office/drawing/2014/main" id="{0F1417BC-1407-43AB-A715-8BA201E3BA1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158786" y="2085367"/>
            <a:ext cx="707812" cy="708575"/>
          </a:xfrm>
          <a:prstGeom prst="rect">
            <a:avLst/>
          </a:prstGeom>
        </p:spPr>
      </p:pic>
      <p:pic>
        <p:nvPicPr>
          <p:cNvPr id="1229" name="Picture 1228">
            <a:extLst>
              <a:ext uri="{FF2B5EF4-FFF2-40B4-BE49-F238E27FC236}">
                <a16:creationId xmlns:a16="http://schemas.microsoft.com/office/drawing/2014/main" id="{67EA0156-4076-4159-9C12-F6473C15F7B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104578" y="2057987"/>
            <a:ext cx="601213" cy="664555"/>
          </a:xfrm>
          <a:prstGeom prst="rect">
            <a:avLst/>
          </a:prstGeom>
        </p:spPr>
      </p:pic>
      <p:pic>
        <p:nvPicPr>
          <p:cNvPr id="1230" name="Picture 1229">
            <a:extLst>
              <a:ext uri="{FF2B5EF4-FFF2-40B4-BE49-F238E27FC236}">
                <a16:creationId xmlns:a16="http://schemas.microsoft.com/office/drawing/2014/main" id="{2960305D-A317-4B0A-A2AF-8651140B4A3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485010" y="2139733"/>
            <a:ext cx="567139" cy="567750"/>
          </a:xfrm>
          <a:prstGeom prst="rect">
            <a:avLst/>
          </a:prstGeom>
        </p:spPr>
      </p:pic>
      <p:sp>
        <p:nvSpPr>
          <p:cNvPr id="249" name="TextBox 248">
            <a:extLst>
              <a:ext uri="{FF2B5EF4-FFF2-40B4-BE49-F238E27FC236}">
                <a16:creationId xmlns:a16="http://schemas.microsoft.com/office/drawing/2014/main" id="{BF797EDB-12C8-4780-85C7-B84F81354704}"/>
              </a:ext>
            </a:extLst>
          </p:cNvPr>
          <p:cNvSpPr txBox="1"/>
          <p:nvPr/>
        </p:nvSpPr>
        <p:spPr>
          <a:xfrm>
            <a:off x="6439444" y="2758309"/>
            <a:ext cx="938119" cy="430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Data Factory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41667FF4-DDDC-4E6A-8B66-2EC066BE5F4D}"/>
              </a:ext>
            </a:extLst>
          </p:cNvPr>
          <p:cNvSpPr txBox="1"/>
          <p:nvPr/>
        </p:nvSpPr>
        <p:spPr>
          <a:xfrm>
            <a:off x="8959141" y="2740781"/>
            <a:ext cx="1105442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Azure SQL DB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95E952F4-9713-4FA4-8FA0-B31F577A5609}"/>
              </a:ext>
            </a:extLst>
          </p:cNvPr>
          <p:cNvSpPr txBox="1"/>
          <p:nvPr/>
        </p:nvSpPr>
        <p:spPr>
          <a:xfrm>
            <a:off x="9936856" y="2731661"/>
            <a:ext cx="1105442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Azure SQL DW</a:t>
            </a:r>
          </a:p>
        </p:txBody>
      </p:sp>
      <p:sp>
        <p:nvSpPr>
          <p:cNvPr id="1231" name="Rectangle 1230">
            <a:extLst>
              <a:ext uri="{FF2B5EF4-FFF2-40B4-BE49-F238E27FC236}">
                <a16:creationId xmlns:a16="http://schemas.microsoft.com/office/drawing/2014/main" id="{4E676260-7802-4AC0-A4DD-7D129C7D8EFC}"/>
              </a:ext>
            </a:extLst>
          </p:cNvPr>
          <p:cNvSpPr/>
          <p:nvPr/>
        </p:nvSpPr>
        <p:spPr>
          <a:xfrm>
            <a:off x="7997222" y="3015866"/>
            <a:ext cx="2994154" cy="306793"/>
          </a:xfrm>
          <a:prstGeom prst="rect">
            <a:avLst/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371C9BBF-BC07-4FAA-999C-E1E01231EB47}"/>
              </a:ext>
            </a:extLst>
          </p:cNvPr>
          <p:cNvSpPr txBox="1"/>
          <p:nvPr/>
        </p:nvSpPr>
        <p:spPr>
          <a:xfrm>
            <a:off x="9106291" y="3002248"/>
            <a:ext cx="781468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FFFFFF"/>
                </a:solidFill>
                <a:latin typeface="Segoe UI"/>
              </a:rPr>
              <a:t>VNet ACL</a:t>
            </a:r>
          </a:p>
        </p:txBody>
      </p:sp>
      <p:pic>
        <p:nvPicPr>
          <p:cNvPr id="1234" name="Picture 1233">
            <a:extLst>
              <a:ext uri="{FF2B5EF4-FFF2-40B4-BE49-F238E27FC236}">
                <a16:creationId xmlns:a16="http://schemas.microsoft.com/office/drawing/2014/main" id="{20A66531-6362-4FE8-BA88-11CA22F31F8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210294" y="2131053"/>
            <a:ext cx="647531" cy="562434"/>
          </a:xfrm>
          <a:prstGeom prst="rect">
            <a:avLst/>
          </a:prstGeom>
        </p:spPr>
      </p:pic>
      <p:sp>
        <p:nvSpPr>
          <p:cNvPr id="260" name="TextBox 259">
            <a:extLst>
              <a:ext uri="{FF2B5EF4-FFF2-40B4-BE49-F238E27FC236}">
                <a16:creationId xmlns:a16="http://schemas.microsoft.com/office/drawing/2014/main" id="{E3F936EC-DDB2-4D78-A1D7-0EE015221925}"/>
              </a:ext>
            </a:extLst>
          </p:cNvPr>
          <p:cNvSpPr txBox="1"/>
          <p:nvPr/>
        </p:nvSpPr>
        <p:spPr>
          <a:xfrm>
            <a:off x="8008023" y="2727239"/>
            <a:ext cx="1105442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Azure Storage</a:t>
            </a:r>
          </a:p>
        </p:txBody>
      </p:sp>
      <p:sp>
        <p:nvSpPr>
          <p:cNvPr id="1235" name="Arrow: Down 1234">
            <a:extLst>
              <a:ext uri="{FF2B5EF4-FFF2-40B4-BE49-F238E27FC236}">
                <a16:creationId xmlns:a16="http://schemas.microsoft.com/office/drawing/2014/main" id="{7655BFC8-3B9D-4230-A31F-2E77044AC8EA}"/>
              </a:ext>
            </a:extLst>
          </p:cNvPr>
          <p:cNvSpPr/>
          <p:nvPr/>
        </p:nvSpPr>
        <p:spPr>
          <a:xfrm>
            <a:off x="8916086" y="3275391"/>
            <a:ext cx="1111453" cy="780249"/>
          </a:xfrm>
          <a:prstGeom prst="downArrow">
            <a:avLst>
              <a:gd name="adj1" fmla="val 54069"/>
              <a:gd name="adj2" fmla="val 44354"/>
            </a:avLst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1236" name="Picture 1235">
            <a:extLst>
              <a:ext uri="{FF2B5EF4-FFF2-40B4-BE49-F238E27FC236}">
                <a16:creationId xmlns:a16="http://schemas.microsoft.com/office/drawing/2014/main" id="{157EE181-A6B5-459B-9322-884F5E25B06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176754" y="3093095"/>
            <a:ext cx="637808" cy="481673"/>
          </a:xfrm>
          <a:prstGeom prst="rect">
            <a:avLst/>
          </a:prstGeom>
        </p:spPr>
      </p:pic>
      <p:cxnSp>
        <p:nvCxnSpPr>
          <p:cNvPr id="1240" name="Connector: Elbow 1239">
            <a:extLst>
              <a:ext uri="{FF2B5EF4-FFF2-40B4-BE49-F238E27FC236}">
                <a16:creationId xmlns:a16="http://schemas.microsoft.com/office/drawing/2014/main" id="{5233E171-9FF9-43AD-9C85-39FACB74F364}"/>
              </a:ext>
            </a:extLst>
          </p:cNvPr>
          <p:cNvCxnSpPr>
            <a:cxnSpLocks/>
            <a:stCxn id="28" idx="3"/>
            <a:endCxn id="1235" idx="2"/>
          </p:cNvCxnSpPr>
          <p:nvPr/>
        </p:nvCxnSpPr>
        <p:spPr>
          <a:xfrm flipV="1">
            <a:off x="8702836" y="4055639"/>
            <a:ext cx="768976" cy="221824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44" name="Picture 1243">
            <a:extLst>
              <a:ext uri="{FF2B5EF4-FFF2-40B4-BE49-F238E27FC236}">
                <a16:creationId xmlns:a16="http://schemas.microsoft.com/office/drawing/2014/main" id="{0C5F139B-5BFC-44E8-B8FD-068E03E9DC33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978819" y="4619907"/>
            <a:ext cx="405457" cy="405894"/>
          </a:xfrm>
          <a:prstGeom prst="rect">
            <a:avLst/>
          </a:prstGeom>
        </p:spPr>
      </p:pic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2206370D-C168-4006-A5DE-37D45605287E}"/>
              </a:ext>
            </a:extLst>
          </p:cNvPr>
          <p:cNvCxnSpPr>
            <a:cxnSpLocks/>
            <a:stCxn id="249" idx="2"/>
            <a:endCxn id="28" idx="1"/>
          </p:cNvCxnSpPr>
          <p:nvPr/>
        </p:nvCxnSpPr>
        <p:spPr>
          <a:xfrm rot="16200000" flipH="1">
            <a:off x="6926977" y="3170609"/>
            <a:ext cx="1088380" cy="1125329"/>
          </a:xfrm>
          <a:prstGeom prst="bentConnector2">
            <a:avLst/>
          </a:prstGeom>
          <a:ln w="15875">
            <a:headEnd type="triangle" w="lg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4B4BB159-5761-47BD-B813-61FF7FB5FBDB}"/>
              </a:ext>
            </a:extLst>
          </p:cNvPr>
          <p:cNvCxnSpPr>
            <a:cxnSpLocks/>
            <a:endCxn id="31" idx="0"/>
          </p:cNvCxnSpPr>
          <p:nvPr/>
        </p:nvCxnSpPr>
        <p:spPr>
          <a:xfrm rot="10800000" flipV="1">
            <a:off x="7278192" y="4412270"/>
            <a:ext cx="719030" cy="473092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41D10C5E-EC3C-424B-A6A3-4D4BD48303DA}"/>
              </a:ext>
            </a:extLst>
          </p:cNvPr>
          <p:cNvCxnSpPr>
            <a:cxnSpLocks/>
            <a:stCxn id="29" idx="3"/>
            <a:endCxn id="49" idx="0"/>
          </p:cNvCxnSpPr>
          <p:nvPr/>
        </p:nvCxnSpPr>
        <p:spPr>
          <a:xfrm>
            <a:off x="8913474" y="4504961"/>
            <a:ext cx="535992" cy="353212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Picture 58">
            <a:extLst>
              <a:ext uri="{FF2B5EF4-FFF2-40B4-BE49-F238E27FC236}">
                <a16:creationId xmlns:a16="http://schemas.microsoft.com/office/drawing/2014/main" id="{8BEB9CB1-2A52-4403-8494-2C1E01F1636A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744357" y="4619907"/>
            <a:ext cx="405457" cy="405894"/>
          </a:xfrm>
          <a:prstGeom prst="rect">
            <a:avLst/>
          </a:prstGeom>
        </p:spPr>
      </p:pic>
      <p:cxnSp>
        <p:nvCxnSpPr>
          <p:cNvPr id="225" name="Straight Arrow Connector 224">
            <a:extLst>
              <a:ext uri="{FF2B5EF4-FFF2-40B4-BE49-F238E27FC236}">
                <a16:creationId xmlns:a16="http://schemas.microsoft.com/office/drawing/2014/main" id="{FA65D759-D749-4330-AC9E-A1C61564C84B}"/>
              </a:ext>
            </a:extLst>
          </p:cNvPr>
          <p:cNvCxnSpPr>
            <a:stCxn id="59" idx="3"/>
            <a:endCxn id="1244" idx="1"/>
          </p:cNvCxnSpPr>
          <p:nvPr/>
        </p:nvCxnSpPr>
        <p:spPr>
          <a:xfrm>
            <a:off x="4149814" y="4822854"/>
            <a:ext cx="1829005" cy="0"/>
          </a:xfrm>
          <a:prstGeom prst="straightConnector1">
            <a:avLst/>
          </a:prstGeom>
          <a:ln w="158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26D153DB-99C5-4789-BE0D-DF112E7DEF87}"/>
              </a:ext>
            </a:extLst>
          </p:cNvPr>
          <p:cNvSpPr txBox="1"/>
          <p:nvPr/>
        </p:nvSpPr>
        <p:spPr>
          <a:xfrm>
            <a:off x="4506456" y="4827618"/>
            <a:ext cx="128738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Express Route</a:t>
            </a:r>
          </a:p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(private peering)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643394F-0D18-44C6-AA5C-3989AB862FF6}"/>
              </a:ext>
            </a:extLst>
          </p:cNvPr>
          <p:cNvSpPr txBox="1"/>
          <p:nvPr/>
        </p:nvSpPr>
        <p:spPr>
          <a:xfrm>
            <a:off x="9087323" y="3295264"/>
            <a:ext cx="768976" cy="7692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1100">
                <a:solidFill>
                  <a:srgbClr val="FFFFFF"/>
                </a:solidFill>
                <a:latin typeface="Segoe UI"/>
              </a:rPr>
              <a:t>VNet service endpoints</a:t>
            </a: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B741FB1B-6E81-4256-94A6-C8FA5E0DCAE0}"/>
              </a:ext>
            </a:extLst>
          </p:cNvPr>
          <p:cNvSpPr txBox="1">
            <a:spLocks/>
          </p:cNvSpPr>
          <p:nvPr/>
        </p:nvSpPr>
        <p:spPr>
          <a:xfrm>
            <a:off x="196561" y="155050"/>
            <a:ext cx="11521327" cy="1307418"/>
          </a:xfrm>
          <a:prstGeom prst="rect">
            <a:avLst/>
          </a:prstGeom>
        </p:spPr>
        <p:txBody>
          <a:bodyPr>
            <a:normAutofit fontScale="70000" lnSpcReduction="20000"/>
          </a:bodyPr>
          <a:lstStyle>
            <a:lvl1pPr algn="l" defTabSz="9140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4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3918">
              <a:lnSpc>
                <a:spcPct val="110000"/>
              </a:lnSpc>
            </a:pPr>
            <a:r>
              <a:rPr lang="en-US" sz="5600" b="1">
                <a:solidFill>
                  <a:srgbClr val="0078D7"/>
                </a:solidFill>
                <a:latin typeface="Segoe UI Light (Headings)"/>
              </a:rPr>
              <a:t>Hybrid Integration Between On-prem and VNet</a:t>
            </a:r>
          </a:p>
          <a:p>
            <a:endParaRPr lang="en-US" sz="4000" b="1">
              <a:solidFill>
                <a:srgbClr val="0078D7"/>
              </a:solidFill>
              <a:latin typeface="Segoe UI Light"/>
            </a:endParaRPr>
          </a:p>
          <a:p>
            <a:r>
              <a:rPr lang="en-US" sz="4000">
                <a:gradFill>
                  <a:gsLst>
                    <a:gs pos="125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latin typeface="Segoe UI Light"/>
              </a:rPr>
              <a:t>Self-hosted IR deployed on VM inside VNet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BF9A0605-EEDF-4AB4-A486-794E50CA724B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972723" y="4846505"/>
            <a:ext cx="710383" cy="608265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48FA5D63-2B19-407E-A923-828BCD51326B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943565" y="4858173"/>
            <a:ext cx="1011801" cy="650069"/>
          </a:xfrm>
          <a:prstGeom prst="rect">
            <a:avLst/>
          </a:prstGeom>
        </p:spPr>
      </p:pic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0E8A8E38-D337-429D-B384-89D33E1A769B}"/>
              </a:ext>
            </a:extLst>
          </p:cNvPr>
          <p:cNvCxnSpPr>
            <a:cxnSpLocks/>
            <a:stCxn id="29" idx="3"/>
            <a:endCxn id="45" idx="0"/>
          </p:cNvCxnSpPr>
          <p:nvPr/>
        </p:nvCxnSpPr>
        <p:spPr>
          <a:xfrm>
            <a:off x="8913474" y="4504961"/>
            <a:ext cx="1414441" cy="341544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32CCC090-6471-4AED-9EC6-45535F711CB6}"/>
              </a:ext>
            </a:extLst>
          </p:cNvPr>
          <p:cNvSpPr txBox="1"/>
          <p:nvPr/>
        </p:nvSpPr>
        <p:spPr>
          <a:xfrm>
            <a:off x="9946090" y="5477259"/>
            <a:ext cx="848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Databricks</a:t>
            </a:r>
          </a:p>
        </p:txBody>
      </p:sp>
    </p:spTree>
    <p:extLst>
      <p:ext uri="{BB962C8B-B14F-4D97-AF65-F5344CB8AC3E}">
        <p14:creationId xmlns:p14="http://schemas.microsoft.com/office/powerpoint/2010/main" val="4286145922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Title 1">
            <a:extLst>
              <a:ext uri="{FF2B5EF4-FFF2-40B4-BE49-F238E27FC236}">
                <a16:creationId xmlns:a16="http://schemas.microsoft.com/office/drawing/2014/main" id="{84835B3A-DD8E-43CC-93E1-30DC89865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900" b="1" dirty="0">
                <a:solidFill>
                  <a:srgbClr val="0078D7"/>
                </a:solidFill>
                <a:latin typeface="Segoe UI Light (Headings)"/>
              </a:rPr>
              <a:t>Ingestion Pattern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9AE982C-1ED2-4F3F-B8A0-ADC970D0D2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0716" y="910748"/>
            <a:ext cx="11652043" cy="6001643"/>
          </a:xfrm>
        </p:spPr>
        <p:txBody>
          <a:bodyPr/>
          <a:lstStyle/>
          <a:p>
            <a:pPr marL="556750" indent="-457200"/>
            <a:r>
              <a:rPr lang="en-US" sz="2400" b="1"/>
              <a:t>Incremental loading</a:t>
            </a:r>
          </a:p>
          <a:p>
            <a:pPr marL="1004586" lvl="2" indent="-457063">
              <a:buFont typeface="+mj-lt"/>
              <a:buAutoNum type="arabicParenR"/>
            </a:pPr>
            <a:r>
              <a:rPr lang="en-US" sz="1800"/>
              <a:t>Use trigger system variables:</a:t>
            </a:r>
          </a:p>
          <a:p>
            <a:pPr marL="1004586" lvl="2" indent="-457063">
              <a:buFont typeface="+mj-lt"/>
              <a:buAutoNum type="arabicParenR"/>
            </a:pPr>
            <a:endParaRPr lang="en-US" sz="1800"/>
          </a:p>
          <a:p>
            <a:pPr marL="1004586" lvl="2" indent="-457063">
              <a:buFont typeface="+mj-lt"/>
              <a:buAutoNum type="arabicParenR"/>
            </a:pPr>
            <a:endParaRPr lang="en-US" sz="1800"/>
          </a:p>
          <a:p>
            <a:pPr marL="1004586" lvl="2" indent="-457063">
              <a:buFont typeface="+mj-lt"/>
              <a:buAutoNum type="arabicParenR"/>
            </a:pPr>
            <a:endParaRPr lang="en-US" sz="1800"/>
          </a:p>
          <a:p>
            <a:pPr marL="1004586" lvl="2" indent="-457063">
              <a:buFont typeface="+mj-lt"/>
              <a:buAutoNum type="arabicParenR"/>
            </a:pPr>
            <a:r>
              <a:rPr lang="en-US" sz="1800"/>
              <a:t>Use watermark column:</a:t>
            </a:r>
          </a:p>
          <a:p>
            <a:pPr lvl="2"/>
            <a:endParaRPr lang="en-US" sz="1800"/>
          </a:p>
          <a:p>
            <a:pPr lvl="2"/>
            <a:endParaRPr lang="en-US" sz="1800"/>
          </a:p>
          <a:p>
            <a:pPr marL="547523" lvl="2" indent="0">
              <a:buNone/>
            </a:pPr>
            <a:endParaRPr lang="en-US" sz="1800"/>
          </a:p>
          <a:p>
            <a:pPr marL="1004586" lvl="2" indent="-457063">
              <a:buFont typeface="+mj-lt"/>
              <a:buAutoNum type="arabicParenR" startAt="3"/>
            </a:pPr>
            <a:endParaRPr lang="en-US" sz="1800" b="1"/>
          </a:p>
          <a:p>
            <a:pPr marL="1004586" lvl="2" indent="-457063">
              <a:buFont typeface="+mj-lt"/>
              <a:buAutoNum type="arabicParenR" startAt="3"/>
            </a:pPr>
            <a:r>
              <a:rPr lang="en-US" sz="1800"/>
              <a:t>Using Change Tracking (Azure SQL DB, SQL Server</a:t>
            </a:r>
            <a:r>
              <a:rPr lang="en-US" sz="1408"/>
              <a:t>)</a:t>
            </a:r>
          </a:p>
          <a:p>
            <a:endParaRPr lang="en-US" sz="2400" b="1"/>
          </a:p>
          <a:p>
            <a:r>
              <a:rPr lang="en-US" sz="2400" b="1"/>
              <a:t>Delete/archive after load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1800"/>
              <a:t>For Azure Blob Storage and ADLS: use Web activity to call REST API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1800"/>
              <a:t>For other data sources: use custom activity</a:t>
            </a:r>
          </a:p>
          <a:p>
            <a:r>
              <a:rPr lang="en-US" sz="2400" b="1"/>
              <a:t>Insert/update/delete on destinatio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1800"/>
              <a:t>For SQL Server/Azure SQL: use </a:t>
            </a:r>
            <a:r>
              <a:rPr lang="en-US" sz="1800" err="1"/>
              <a:t>sproc</a:t>
            </a:r>
            <a:r>
              <a:rPr lang="en-US" sz="1800"/>
              <a:t> for </a:t>
            </a:r>
            <a:r>
              <a:rPr lang="en-US" sz="1800" err="1"/>
              <a:t>upsert</a:t>
            </a:r>
            <a:endParaRPr lang="en-US" sz="1800"/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1800"/>
              <a:t>For other connectors: use custom activit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66BD3FD-93DB-4E03-9253-0A00491CCD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161" y="2385751"/>
            <a:ext cx="5801118" cy="159917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89A9178-F233-4162-A58E-95D61A841663}"/>
              </a:ext>
            </a:extLst>
          </p:cNvPr>
          <p:cNvSpPr/>
          <p:nvPr/>
        </p:nvSpPr>
        <p:spPr>
          <a:xfrm>
            <a:off x="4302161" y="1287337"/>
            <a:ext cx="6709968" cy="64633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indent="-600091"/>
            <a:r>
              <a:rPr lang="en-US" sz="1200"/>
              <a:t>SELECT </a:t>
            </a:r>
            <a:r>
              <a:rPr lang="en-US" sz="1200" err="1"/>
              <a:t>Id,IsDeleted,CreatedData</a:t>
            </a:r>
            <a:r>
              <a:rPr lang="en-US" sz="1200"/>
              <a:t> FROM Customers </a:t>
            </a:r>
          </a:p>
          <a:p>
            <a:pPr indent="-600091"/>
            <a:r>
              <a:rPr lang="en-US" sz="1200"/>
              <a:t>WHERE </a:t>
            </a:r>
            <a:r>
              <a:rPr lang="en-US" sz="1200" err="1"/>
              <a:t>CreatedDate</a:t>
            </a:r>
            <a:r>
              <a:rPr lang="en-US" sz="1200"/>
              <a:t> &gt;= </a:t>
            </a:r>
            <a:r>
              <a:rPr lang="fi-FI" sz="1200">
                <a:solidFill>
                  <a:srgbClr val="C00000"/>
                </a:solidFill>
              </a:rPr>
              <a:t>@{formatDateTime(pipeline().parameters.windowStartTime, 'yyyy/MM/dd’) </a:t>
            </a:r>
          </a:p>
          <a:p>
            <a:pPr indent="-600091"/>
            <a:r>
              <a:rPr lang="en-US" sz="1200"/>
              <a:t>AND </a:t>
            </a:r>
            <a:r>
              <a:rPr lang="en-US" sz="1200" err="1"/>
              <a:t>CreatedDate</a:t>
            </a:r>
            <a:r>
              <a:rPr lang="en-US" sz="1200"/>
              <a:t> &lt; </a:t>
            </a:r>
            <a:r>
              <a:rPr lang="fi-FI" sz="1200">
                <a:solidFill>
                  <a:srgbClr val="C00000"/>
                </a:solidFill>
              </a:rPr>
              <a:t>@{formatDateTime(pipeline().parameters.windowEndTime, 'yyyy/MM/dd’) </a:t>
            </a:r>
            <a:endParaRPr lang="en-US" sz="120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478964"/>
      </p:ext>
    </p:extLst>
  </p:cSld>
  <p:clrMapOvr>
    <a:masterClrMapping/>
  </p:clrMapOvr>
  <p:transition spd="med"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791F8B3-23E6-4F65-AAF4-03EB7DB5399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061" b="4203"/>
          <a:stretch/>
        </p:blipFill>
        <p:spPr>
          <a:xfrm>
            <a:off x="5818739" y="759360"/>
            <a:ext cx="6031442" cy="29765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6849C7C-9EB9-462B-838E-D6F8B5BC0A2C}"/>
              </a:ext>
            </a:extLst>
          </p:cNvPr>
          <p:cNvSpPr txBox="1"/>
          <p:nvPr/>
        </p:nvSpPr>
        <p:spPr>
          <a:xfrm>
            <a:off x="5818740" y="175887"/>
            <a:ext cx="6248215" cy="584775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rag-n-drop visual author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Live debug mode with breakpoint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C9BFA41-CDBF-40CF-97CB-FB0903940FE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367" t="17770" r="34371" b="48888"/>
          <a:stretch/>
        </p:blipFill>
        <p:spPr>
          <a:xfrm>
            <a:off x="609600" y="4432952"/>
            <a:ext cx="5638800" cy="22860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FDD5E10-3B64-47B2-9B29-CDD90C211086}"/>
              </a:ext>
            </a:extLst>
          </p:cNvPr>
          <p:cNvSpPr/>
          <p:nvPr/>
        </p:nvSpPr>
        <p:spPr bwMode="auto">
          <a:xfrm>
            <a:off x="4305485" y="4508679"/>
            <a:ext cx="1447800" cy="838200"/>
          </a:xfrm>
          <a:prstGeom prst="roundRect">
            <a:avLst>
              <a:gd name="adj" fmla="val 10875"/>
            </a:avLst>
          </a:prstGeom>
          <a:noFill/>
          <a:ln w="12700">
            <a:solidFill>
              <a:srgbClr val="A8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B3E09AB-DD6E-4788-8C54-6F621AC6624C}"/>
              </a:ext>
            </a:extLst>
          </p:cNvPr>
          <p:cNvSpPr txBox="1"/>
          <p:nvPr/>
        </p:nvSpPr>
        <p:spPr>
          <a:xfrm>
            <a:off x="559982" y="3991994"/>
            <a:ext cx="5638800" cy="338554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Export ARM template from DEV env &amp; deploy to QA/PRO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08E6BC2-019B-4BD3-839A-B31F0BAE71D6}"/>
              </a:ext>
            </a:extLst>
          </p:cNvPr>
          <p:cNvSpPr txBox="1"/>
          <p:nvPr/>
        </p:nvSpPr>
        <p:spPr>
          <a:xfrm>
            <a:off x="7162800" y="3991994"/>
            <a:ext cx="5180498" cy="338554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tegration w/ Azure DevOps Git and GitHub</a:t>
            </a:r>
          </a:p>
        </p:txBody>
      </p:sp>
      <p:pic>
        <p:nvPicPr>
          <p:cNvPr id="13" name="Picture 2" descr="Machine generated alternative text:&#10;Repository Settings &#10;Enter Git repository information to be associated with your &#10;Data Factory: shwangDemoParam &#10;Repository Type * &#10;Select... &#10;Azure DevOps Git &#10;o &#10;G i tHub &#10;x &#10;O ">
            <a:extLst>
              <a:ext uri="{FF2B5EF4-FFF2-40B4-BE49-F238E27FC236}">
                <a16:creationId xmlns:a16="http://schemas.microsoft.com/office/drawing/2014/main" id="{3CADB832-C260-4A46-925A-2D46098852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800" y="4377438"/>
            <a:ext cx="4651540" cy="23639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8E4FB164-35E9-4ECB-B60A-53E118E2B4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514"/>
            <a:ext cx="11655840" cy="899665"/>
          </a:xfrm>
        </p:spPr>
        <p:txBody>
          <a:bodyPr>
            <a:normAutofit/>
          </a:bodyPr>
          <a:lstStyle/>
          <a:p>
            <a:r>
              <a:rPr lang="en-US" sz="3900" b="1" dirty="0">
                <a:solidFill>
                  <a:srgbClr val="0078D7"/>
                </a:solidFill>
                <a:latin typeface="Segoe UI Light (Headings)"/>
              </a:rPr>
              <a:t>Authoring and CICD</a:t>
            </a:r>
          </a:p>
        </p:txBody>
      </p:sp>
    </p:spTree>
    <p:extLst>
      <p:ext uri="{BB962C8B-B14F-4D97-AF65-F5344CB8AC3E}">
        <p14:creationId xmlns:p14="http://schemas.microsoft.com/office/powerpoint/2010/main" val="105138913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>
            <a:extLst>
              <a:ext uri="{FF2B5EF4-FFF2-40B4-BE49-F238E27FC236}">
                <a16:creationId xmlns:a16="http://schemas.microsoft.com/office/drawing/2014/main" id="{B741FB1B-6E81-4256-94A6-C8FA5E0DCAE0}"/>
              </a:ext>
            </a:extLst>
          </p:cNvPr>
          <p:cNvSpPr txBox="1">
            <a:spLocks/>
          </p:cNvSpPr>
          <p:nvPr/>
        </p:nvSpPr>
        <p:spPr>
          <a:xfrm>
            <a:off x="196561" y="155051"/>
            <a:ext cx="10511370" cy="1150645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0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4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defTabSz="913951" fontAlgn="auto">
              <a:spcAft>
                <a:spcPts val="0"/>
              </a:spcAft>
              <a:buClrTx/>
              <a:buSzTx/>
              <a:tabLst/>
              <a:defRPr/>
            </a:pPr>
            <a:r>
              <a:rPr lang="en-US" sz="3900" b="1" dirty="0">
                <a:solidFill>
                  <a:srgbClr val="0078D7"/>
                </a:solidFill>
                <a:latin typeface="Segoe UI Light (Headings)"/>
              </a:rPr>
              <a:t>Monitoring &amp; Mgmt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BC86EF5-E8B8-4F92-83AC-61E0D88AE62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2754" b="4348"/>
          <a:stretch/>
        </p:blipFill>
        <p:spPr>
          <a:xfrm>
            <a:off x="240154" y="1502887"/>
            <a:ext cx="6035040" cy="28141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E28CFD2-30C4-4B1B-A40A-C29600752398}"/>
              </a:ext>
            </a:extLst>
          </p:cNvPr>
          <p:cNvSpPr txBox="1"/>
          <p:nvPr/>
        </p:nvSpPr>
        <p:spPr>
          <a:xfrm>
            <a:off x="163954" y="1066800"/>
            <a:ext cx="5638800" cy="338554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ingle-factory monitoring through ADF dashboar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80A8922-2465-49BE-ABF0-B9A5EF13638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800" y="3438442"/>
            <a:ext cx="6200788" cy="31480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C4DFEF4-287B-4410-95F0-AE84D8EBBEC2}"/>
              </a:ext>
            </a:extLst>
          </p:cNvPr>
          <p:cNvSpPr txBox="1"/>
          <p:nvPr/>
        </p:nvSpPr>
        <p:spPr>
          <a:xfrm>
            <a:off x="6593342" y="2743201"/>
            <a:ext cx="5246247" cy="584775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ulti-factory, multi-service monitoring through Azure Monitor and OMS (Operations Management Suite)</a:t>
            </a:r>
          </a:p>
        </p:txBody>
      </p:sp>
    </p:spTree>
    <p:extLst>
      <p:ext uri="{BB962C8B-B14F-4D97-AF65-F5344CB8AC3E}">
        <p14:creationId xmlns:p14="http://schemas.microsoft.com/office/powerpoint/2010/main" val="866132113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Title 1">
            <a:extLst>
              <a:ext uri="{FF2B5EF4-FFF2-40B4-BE49-F238E27FC236}">
                <a16:creationId xmlns:a16="http://schemas.microsoft.com/office/drawing/2014/main" id="{84835B3A-DD8E-43CC-93E1-30DC89865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defTabSz="913918"/>
            <a:r>
              <a:rPr lang="en-US" sz="3920" b="1" dirty="0">
                <a:solidFill>
                  <a:srgbClr val="0078D7"/>
                </a:solidFill>
                <a:latin typeface="Segoe UI Light (Headings)"/>
              </a:rPr>
              <a:t>Data Ingestion using ADF</a:t>
            </a:r>
          </a:p>
        </p:txBody>
      </p:sp>
      <p:pic>
        <p:nvPicPr>
          <p:cNvPr id="7" name="Picture 6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17299403-CF40-483C-9419-28867C7EAC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841" y="3587503"/>
            <a:ext cx="9608144" cy="225190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3C76A3A-F29C-4A63-84AF-8A67FE470241}"/>
              </a:ext>
            </a:extLst>
          </p:cNvPr>
          <p:cNvSpPr/>
          <p:nvPr/>
        </p:nvSpPr>
        <p:spPr>
          <a:xfrm>
            <a:off x="1142841" y="1315090"/>
            <a:ext cx="776262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Fully managed PaaS service with monitoring &amp; mgm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Rich out-of-the-box connectivity for hybrid integ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Scalable and sec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Operationalized for historical and incremental load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Chaining with rest of analytics workflow</a:t>
            </a:r>
          </a:p>
        </p:txBody>
      </p:sp>
    </p:spTree>
    <p:extLst>
      <p:ext uri="{BB962C8B-B14F-4D97-AF65-F5344CB8AC3E}">
        <p14:creationId xmlns:p14="http://schemas.microsoft.com/office/powerpoint/2010/main" val="2095270077"/>
      </p:ext>
    </p:extLst>
  </p:cSld>
  <p:clrMapOvr>
    <a:masterClrMapping/>
  </p:clrMapOvr>
  <p:transition spd="med"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screenshot&#10;&#10;Description generated with very high confidence">
            <a:extLst>
              <a:ext uri="{FF2B5EF4-FFF2-40B4-BE49-F238E27FC236}">
                <a16:creationId xmlns:a16="http://schemas.microsoft.com/office/drawing/2014/main" id="{59C52407-C5EC-42E0-9581-FC8CCF8BC1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871" t="1" r="13712" b="86757"/>
          <a:stretch/>
        </p:blipFill>
        <p:spPr>
          <a:xfrm>
            <a:off x="1" y="487"/>
            <a:ext cx="12549947" cy="6865374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CC51A34-56B7-4C98-B6E0-BA35E17CDDE5}"/>
              </a:ext>
            </a:extLst>
          </p:cNvPr>
          <p:cNvCxnSpPr>
            <a:cxnSpLocks/>
          </p:cNvCxnSpPr>
          <p:nvPr/>
        </p:nvCxnSpPr>
        <p:spPr>
          <a:xfrm>
            <a:off x="5826762" y="4848339"/>
            <a:ext cx="896425" cy="0"/>
          </a:xfrm>
          <a:prstGeom prst="line">
            <a:avLst/>
          </a:prstGeom>
          <a:ln w="28575">
            <a:solidFill>
              <a:srgbClr val="FF000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235632FD-723D-4B36-B5A6-F82AC7701F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861"/>
            <a:ext cx="12549947" cy="7707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989469"/>
      </p:ext>
    </p:extLst>
  </p:cSld>
  <p:clrMapOvr>
    <a:masterClrMapping/>
  </p:clrMapOvr>
  <p:transition spd="med"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9303" y="2084378"/>
            <a:ext cx="5724454" cy="1792836"/>
          </a:xfrm>
        </p:spPr>
        <p:txBody>
          <a:bodyPr/>
          <a:lstStyle/>
          <a:p>
            <a:r>
              <a:rPr lang="en-US" dirty="0"/>
              <a:t>Putting the “T” in “ETL”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DF - Data Flow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1762249117"/>
      </p:ext>
    </p:extLst>
  </p:cSld>
  <p:clrMapOvr>
    <a:masterClrMapping/>
  </p:clrMapOvr>
  <p:transition spd="slow">
    <p:push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Title 1">
            <a:extLst>
              <a:ext uri="{FF2B5EF4-FFF2-40B4-BE49-F238E27FC236}">
                <a16:creationId xmlns:a16="http://schemas.microsoft.com/office/drawing/2014/main" id="{84835B3A-DD8E-43CC-93E1-30DC89865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920" b="1" dirty="0">
                <a:solidFill>
                  <a:srgbClr val="0078D7"/>
                </a:solidFill>
                <a:latin typeface="Segoe UI Light (Headings)"/>
              </a:rPr>
              <a:t>No-code Data Transformation At Sca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39CADE-83B5-44A8-8429-50F1E11541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0821" y="1431369"/>
            <a:ext cx="11311580" cy="4825937"/>
          </a:xfrm>
        </p:spPr>
        <p:txBody>
          <a:bodyPr/>
          <a:lstStyle/>
          <a:p>
            <a:r>
              <a:rPr lang="en-US" sz="3200" dirty="0"/>
              <a:t>Transform data at scale in the cloud with zero-code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400" dirty="0"/>
              <a:t>Cloud-first, scale-out ELT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400" dirty="0"/>
              <a:t>Code-free dataflow pipeline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400" dirty="0"/>
              <a:t>Serverless scale-out transformation execution engine</a:t>
            </a:r>
          </a:p>
          <a:p>
            <a:endParaRPr lang="en-US" sz="3200" dirty="0"/>
          </a:p>
          <a:p>
            <a:r>
              <a:rPr lang="en-US" sz="3200" dirty="0"/>
              <a:t>Maximum Productivity for Data Engineer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400" dirty="0"/>
              <a:t>Does NOT require understanding of Spark / Scala / Python / Java</a:t>
            </a:r>
          </a:p>
          <a:p>
            <a:endParaRPr lang="en-US" sz="3200" dirty="0"/>
          </a:p>
          <a:p>
            <a:r>
              <a:rPr lang="en-US" sz="3200" dirty="0"/>
              <a:t>Native handling of Schema Drift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400" dirty="0"/>
              <a:t>Built for big data scenarios with unstructured data requirements</a:t>
            </a:r>
          </a:p>
        </p:txBody>
      </p:sp>
    </p:spTree>
    <p:extLst>
      <p:ext uri="{BB962C8B-B14F-4D97-AF65-F5344CB8AC3E}">
        <p14:creationId xmlns:p14="http://schemas.microsoft.com/office/powerpoint/2010/main" val="1811837224"/>
      </p:ext>
    </p:extLst>
  </p:cSld>
  <p:clrMapOvr>
    <a:masterClrMapping/>
  </p:clrMapOvr>
  <p:transition spd="med"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278D23-9E2D-4241-A471-B379AFFBA5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3918"/>
            <a:r>
              <a:rPr lang="en-US" sz="3920" b="1" dirty="0">
                <a:solidFill>
                  <a:srgbClr val="0078D7"/>
                </a:solidFill>
                <a:latin typeface="Segoe UI Light (Headings)"/>
              </a:rPr>
              <a:t>Code-free Data Transformation At Sca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053DB4-3B4F-47F1-9518-9E527BBCFF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91321" y="1447800"/>
            <a:ext cx="3769463" cy="3623556"/>
          </a:xfrm>
        </p:spPr>
        <p:txBody>
          <a:bodyPr/>
          <a:lstStyle/>
          <a:p>
            <a:pPr marL="0" indent="0">
              <a:buNone/>
            </a:pPr>
            <a:r>
              <a:rPr lang="en-US" sz="2352" dirty="0"/>
              <a:t>Types of transformation:</a:t>
            </a:r>
          </a:p>
          <a:p>
            <a:pPr>
              <a:buFontTx/>
              <a:buChar char="-"/>
            </a:pPr>
            <a:r>
              <a:rPr lang="en-US" sz="2352" dirty="0"/>
              <a:t>Join</a:t>
            </a:r>
          </a:p>
          <a:p>
            <a:pPr>
              <a:buFontTx/>
              <a:buChar char="-"/>
            </a:pPr>
            <a:r>
              <a:rPr lang="en-US" sz="2352" dirty="0"/>
              <a:t>Split</a:t>
            </a:r>
          </a:p>
          <a:p>
            <a:pPr>
              <a:buFontTx/>
              <a:buChar char="-"/>
            </a:pPr>
            <a:r>
              <a:rPr lang="en-US" sz="2352" dirty="0"/>
              <a:t>Union</a:t>
            </a:r>
          </a:p>
          <a:p>
            <a:pPr>
              <a:buFontTx/>
              <a:buChar char="-"/>
            </a:pPr>
            <a:r>
              <a:rPr lang="en-US" sz="2352" dirty="0"/>
              <a:t>Lookup</a:t>
            </a:r>
          </a:p>
          <a:p>
            <a:pPr>
              <a:buFontTx/>
              <a:buChar char="-"/>
            </a:pPr>
            <a:r>
              <a:rPr lang="en-US" sz="2352" dirty="0"/>
              <a:t>Aggregate</a:t>
            </a:r>
          </a:p>
          <a:p>
            <a:pPr>
              <a:buFontTx/>
              <a:buChar char="-"/>
            </a:pPr>
            <a:r>
              <a:rPr lang="en-US" sz="2352" dirty="0"/>
              <a:t>Derived column</a:t>
            </a:r>
          </a:p>
          <a:p>
            <a:pPr>
              <a:buFontTx/>
              <a:buChar char="-"/>
            </a:pPr>
            <a:r>
              <a:rPr lang="en-US" sz="2352" dirty="0"/>
              <a:t>(and many more to come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17F55DC-E0FC-4ED1-9756-E956067139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219" y="1447801"/>
            <a:ext cx="7567165" cy="43586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22458321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89" y="175258"/>
            <a:ext cx="11023275" cy="643969"/>
          </a:xfrm>
        </p:spPr>
        <p:txBody>
          <a:bodyPr>
            <a:noAutofit/>
          </a:bodyPr>
          <a:lstStyle/>
          <a:p>
            <a:r>
              <a:rPr lang="en-US" sz="3920" b="1" spc="0" dirty="0">
                <a:solidFill>
                  <a:srgbClr val="0086AC"/>
                </a:solidFill>
                <a:latin typeface="Segoe UI Light (Headings)"/>
                <a:cs typeface="Segoe UI Semilight" panose="020B0402040204020203" pitchFamily="34" charset="0"/>
              </a:rPr>
              <a:t>Tell us what you think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700448"/>
          </a:xfrm>
        </p:spPr>
        <p:txBody>
          <a:bodyPr/>
          <a:lstStyle/>
          <a:p>
            <a:r>
              <a:rPr lang="en-US" sz="3600" dirty="0"/>
              <a:t>Help us improve by filling out the </a:t>
            </a:r>
            <a:r>
              <a:rPr lang="en-US" sz="3600" u="sng" dirty="0">
                <a:hlinkClick r:id="rId3"/>
              </a:rPr>
              <a:t>feedback survey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656396372"/>
      </p:ext>
    </p:extLst>
  </p:cSld>
  <p:clrMapOvr>
    <a:masterClrMapping/>
  </p:clrMapOvr>
  <p:transition spd="med"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4909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89" y="175258"/>
            <a:ext cx="11023275" cy="643969"/>
          </a:xfrm>
        </p:spPr>
        <p:txBody>
          <a:bodyPr>
            <a:noAutofit/>
          </a:bodyPr>
          <a:lstStyle/>
          <a:p>
            <a:r>
              <a:rPr lang="en-US" sz="3920" b="1" spc="0">
                <a:solidFill>
                  <a:srgbClr val="0086AC"/>
                </a:solidFill>
                <a:latin typeface="Segoe UI Light (Headings)"/>
                <a:cs typeface="Segoe UI Semilight" panose="020B0402040204020203" pitchFamily="34" charset="0"/>
              </a:rPr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3120854"/>
          </a:xfrm>
        </p:spPr>
        <p:txBody>
          <a:bodyPr/>
          <a:lstStyle/>
          <a:p>
            <a:r>
              <a:rPr lang="en-US" sz="3600" dirty="0"/>
              <a:t>MDW scenarios</a:t>
            </a:r>
          </a:p>
          <a:p>
            <a:r>
              <a:rPr lang="en-US" sz="3600" dirty="0"/>
              <a:t>ADF overview</a:t>
            </a:r>
          </a:p>
          <a:p>
            <a:r>
              <a:rPr lang="en-US" sz="3600" dirty="0"/>
              <a:t>Loading data using ADF</a:t>
            </a:r>
          </a:p>
          <a:p>
            <a:r>
              <a:rPr lang="en-US" sz="3600" dirty="0"/>
              <a:t>Interactive demo</a:t>
            </a:r>
            <a:endParaRPr lang="en-US" sz="2424" dirty="0"/>
          </a:p>
          <a:p>
            <a:r>
              <a:rPr lang="en-US" sz="3600" dirty="0"/>
              <a:t>Q&amp;A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4120213947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Arrow: Left-Right 156">
            <a:extLst>
              <a:ext uri="{FF2B5EF4-FFF2-40B4-BE49-F238E27FC236}">
                <a16:creationId xmlns:a16="http://schemas.microsoft.com/office/drawing/2014/main" id="{0F3FB124-4C3B-4C58-87FC-C9D777D71D3F}"/>
              </a:ext>
            </a:extLst>
          </p:cNvPr>
          <p:cNvSpPr/>
          <p:nvPr/>
        </p:nvSpPr>
        <p:spPr>
          <a:xfrm>
            <a:off x="235594" y="5779071"/>
            <a:ext cx="11180492" cy="888992"/>
          </a:xfrm>
          <a:prstGeom prst="leftRightArrow">
            <a:avLst/>
          </a:prstGeom>
          <a:solidFill>
            <a:srgbClr val="0078D7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093">
              <a:defRPr/>
            </a:pPr>
            <a:endParaRPr lang="en-US" sz="1764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83E0CDEC-3FF4-4C6D-A38F-41B2F9DFD677}"/>
              </a:ext>
            </a:extLst>
          </p:cNvPr>
          <p:cNvSpPr txBox="1"/>
          <p:nvPr/>
        </p:nvSpPr>
        <p:spPr>
          <a:xfrm>
            <a:off x="1820167" y="5910079"/>
            <a:ext cx="8790108" cy="502242"/>
          </a:xfrm>
          <a:prstGeom prst="rect">
            <a:avLst/>
          </a:prstGeom>
          <a:noFill/>
        </p:spPr>
        <p:txBody>
          <a:bodyPr wrap="square" lIns="274210" tIns="182806" rIns="182806" rtlCol="0">
            <a:spAutoFit/>
          </a:bodyPr>
          <a:lstStyle/>
          <a:p>
            <a:pPr defTabSz="914093">
              <a:defRPr/>
            </a:pPr>
            <a:r>
              <a:rPr lang="en-US" sz="1764" b="1">
                <a:solidFill>
                  <a:schemeClr val="bg1"/>
                </a:solidFill>
                <a:latin typeface="Segoe UI"/>
              </a:rPr>
              <a:t>Azure Data Factory orchestrates and operationalizes data pipeline workflow</a:t>
            </a:r>
          </a:p>
        </p:txBody>
      </p:sp>
      <p:sp>
        <p:nvSpPr>
          <p:cNvPr id="159" name="Title 1">
            <a:extLst>
              <a:ext uri="{FF2B5EF4-FFF2-40B4-BE49-F238E27FC236}">
                <a16:creationId xmlns:a16="http://schemas.microsoft.com/office/drawing/2014/main" id="{2D38ADE1-09D7-46ED-B830-3122B0EDF1CA}"/>
              </a:ext>
            </a:extLst>
          </p:cNvPr>
          <p:cNvSpPr txBox="1">
            <a:spLocks/>
          </p:cNvSpPr>
          <p:nvPr/>
        </p:nvSpPr>
        <p:spPr>
          <a:xfrm>
            <a:off x="196561" y="155051"/>
            <a:ext cx="10511370" cy="115064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rmAutofit/>
          </a:bodyPr>
          <a:lstStyle>
            <a:lvl1pPr algn="l" defTabSz="91391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3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defRPr/>
            </a:pPr>
            <a:r>
              <a:rPr lang="en-US" sz="3920" b="1">
                <a:solidFill>
                  <a:srgbClr val="0078D7"/>
                </a:solidFill>
                <a:latin typeface="Segoe UI Light (Headings)"/>
              </a:rPr>
              <a:t>Modern DW for BI</a:t>
            </a:r>
          </a:p>
        </p:txBody>
      </p:sp>
      <p:sp>
        <p:nvSpPr>
          <p:cNvPr id="155" name="Right Bracket 154">
            <a:extLst>
              <a:ext uri="{FF2B5EF4-FFF2-40B4-BE49-F238E27FC236}">
                <a16:creationId xmlns:a16="http://schemas.microsoft.com/office/drawing/2014/main" id="{95F3FD24-C680-420A-A9F6-7D50A86978C7}"/>
              </a:ext>
            </a:extLst>
          </p:cNvPr>
          <p:cNvSpPr/>
          <p:nvPr/>
        </p:nvSpPr>
        <p:spPr>
          <a:xfrm>
            <a:off x="2215617" y="2358243"/>
            <a:ext cx="100766" cy="2681121"/>
          </a:xfrm>
          <a:prstGeom prst="rightBracket">
            <a:avLst>
              <a:gd name="adj" fmla="val 0"/>
            </a:avLst>
          </a:prstGeom>
          <a:solidFill>
            <a:schemeClr val="bg1"/>
          </a:solidFill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82365424-865D-457D-9BBF-DD5CC4A6F528}"/>
              </a:ext>
            </a:extLst>
          </p:cNvPr>
          <p:cNvSpPr txBox="1"/>
          <p:nvPr/>
        </p:nvSpPr>
        <p:spPr>
          <a:xfrm>
            <a:off x="290776" y="5118264"/>
            <a:ext cx="1632135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defTabSz="93259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kern="0" cap="none" spc="0" normalizeH="0" baseline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Business / custom apps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Structured)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4F338A48-243F-463B-931C-CF225EE50FDF}"/>
              </a:ext>
            </a:extLst>
          </p:cNvPr>
          <p:cNvSpPr txBox="1"/>
          <p:nvPr/>
        </p:nvSpPr>
        <p:spPr>
          <a:xfrm>
            <a:off x="308035" y="2531672"/>
            <a:ext cx="1475072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defTabSz="93259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kern="0" cap="none" spc="0" normalizeH="0" baseline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Logs, files and media</a:t>
            </a:r>
            <a:b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unstructured)</a:t>
            </a:r>
          </a:p>
        </p:txBody>
      </p:sp>
      <p:cxnSp>
        <p:nvCxnSpPr>
          <p:cNvPr id="166" name="Straight Arrow Connector 165">
            <a:extLst>
              <a:ext uri="{FF2B5EF4-FFF2-40B4-BE49-F238E27FC236}">
                <a16:creationId xmlns:a16="http://schemas.microsoft.com/office/drawing/2014/main" id="{15B46A04-3621-4310-B0E1-0D52B0713858}"/>
              </a:ext>
            </a:extLst>
          </p:cNvPr>
          <p:cNvCxnSpPr>
            <a:cxnSpLocks/>
          </p:cNvCxnSpPr>
          <p:nvPr/>
        </p:nvCxnSpPr>
        <p:spPr>
          <a:xfrm>
            <a:off x="5529431" y="2815789"/>
            <a:ext cx="1237066" cy="9756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Arrow Connector 168">
            <a:extLst>
              <a:ext uri="{FF2B5EF4-FFF2-40B4-BE49-F238E27FC236}">
                <a16:creationId xmlns:a16="http://schemas.microsoft.com/office/drawing/2014/main" id="{6847B7D1-2BA7-41ED-9F83-F48A45D15BA7}"/>
              </a:ext>
            </a:extLst>
          </p:cNvPr>
          <p:cNvCxnSpPr>
            <a:cxnSpLocks/>
          </p:cNvCxnSpPr>
          <p:nvPr/>
        </p:nvCxnSpPr>
        <p:spPr>
          <a:xfrm>
            <a:off x="9923284" y="4914098"/>
            <a:ext cx="717007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tangle 169">
            <a:extLst>
              <a:ext uri="{FF2B5EF4-FFF2-40B4-BE49-F238E27FC236}">
                <a16:creationId xmlns:a16="http://schemas.microsoft.com/office/drawing/2014/main" id="{91785FF7-4C9D-4F76-BA08-59E5249D4295}"/>
              </a:ext>
            </a:extLst>
          </p:cNvPr>
          <p:cNvSpPr/>
          <p:nvPr/>
        </p:nvSpPr>
        <p:spPr>
          <a:xfrm>
            <a:off x="4474006" y="3117106"/>
            <a:ext cx="1392554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Data Lake Storage Gen2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06D57630-0B04-4ADA-909E-78036BF6193E}"/>
              </a:ext>
            </a:extLst>
          </p:cNvPr>
          <p:cNvSpPr/>
          <p:nvPr/>
        </p:nvSpPr>
        <p:spPr>
          <a:xfrm>
            <a:off x="4592872" y="4833081"/>
            <a:ext cx="733188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olybase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E2F53166-5CE6-49E9-9730-A4DE18B6D47F}"/>
              </a:ext>
            </a:extLst>
          </p:cNvPr>
          <p:cNvSpPr/>
          <p:nvPr/>
        </p:nvSpPr>
        <p:spPr>
          <a:xfrm>
            <a:off x="8424579" y="5240013"/>
            <a:ext cx="1929128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SQL Data Warehouse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38C76963-2A0A-45D0-8A4F-B79F1A37CBF7}"/>
              </a:ext>
            </a:extLst>
          </p:cNvPr>
          <p:cNvSpPr/>
          <p:nvPr/>
        </p:nvSpPr>
        <p:spPr>
          <a:xfrm>
            <a:off x="2672827" y="3117106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factory 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AF3B98BB-4BAA-4E3D-9796-D3361C8CE332}"/>
              </a:ext>
            </a:extLst>
          </p:cNvPr>
          <p:cNvSpPr/>
          <p:nvPr/>
        </p:nvSpPr>
        <p:spPr>
          <a:xfrm>
            <a:off x="2672827" y="5057423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factory </a:t>
            </a:r>
          </a:p>
        </p:txBody>
      </p:sp>
      <p:cxnSp>
        <p:nvCxnSpPr>
          <p:cNvPr id="185" name="Connector: Elbow 184">
            <a:extLst>
              <a:ext uri="{FF2B5EF4-FFF2-40B4-BE49-F238E27FC236}">
                <a16:creationId xmlns:a16="http://schemas.microsoft.com/office/drawing/2014/main" id="{98AC8C0D-DC4E-418F-9835-4D75115E487A}"/>
              </a:ext>
            </a:extLst>
          </p:cNvPr>
          <p:cNvCxnSpPr>
            <a:cxnSpLocks/>
            <a:endCxn id="256" idx="0"/>
          </p:cNvCxnSpPr>
          <p:nvPr/>
        </p:nvCxnSpPr>
        <p:spPr>
          <a:xfrm>
            <a:off x="7634177" y="2849402"/>
            <a:ext cx="3634614" cy="1043940"/>
          </a:xfrm>
          <a:prstGeom prst="bentConnector2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" name="Rectangle 185">
            <a:extLst>
              <a:ext uri="{FF2B5EF4-FFF2-40B4-BE49-F238E27FC236}">
                <a16:creationId xmlns:a16="http://schemas.microsoft.com/office/drawing/2014/main" id="{FA88C94D-ABDC-4822-9D1A-75F59D8B6C01}"/>
              </a:ext>
            </a:extLst>
          </p:cNvPr>
          <p:cNvSpPr/>
          <p:nvPr/>
        </p:nvSpPr>
        <p:spPr>
          <a:xfrm>
            <a:off x="6502777" y="3117106"/>
            <a:ext cx="1428598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Databricks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Spark)</a:t>
            </a:r>
          </a:p>
        </p:txBody>
      </p: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0C4A4B8B-24E1-4722-86F0-491FE9D03192}"/>
              </a:ext>
            </a:extLst>
          </p:cNvPr>
          <p:cNvGrpSpPr/>
          <p:nvPr/>
        </p:nvGrpSpPr>
        <p:grpSpPr>
          <a:xfrm>
            <a:off x="553831" y="4618795"/>
            <a:ext cx="1064771" cy="406286"/>
            <a:chOff x="579957" y="1614888"/>
            <a:chExt cx="1064771" cy="406286"/>
          </a:xfrm>
        </p:grpSpPr>
        <p:grpSp>
          <p:nvGrpSpPr>
            <p:cNvPr id="188" name="Group 187">
              <a:extLst>
                <a:ext uri="{FF2B5EF4-FFF2-40B4-BE49-F238E27FC236}">
                  <a16:creationId xmlns:a16="http://schemas.microsoft.com/office/drawing/2014/main" id="{D3B1975D-4D05-4582-A9F5-50EAB55A42F0}"/>
                </a:ext>
              </a:extLst>
            </p:cNvPr>
            <p:cNvGrpSpPr/>
            <p:nvPr/>
          </p:nvGrpSpPr>
          <p:grpSpPr>
            <a:xfrm>
              <a:off x="1174991" y="1632049"/>
              <a:ext cx="469737" cy="385154"/>
              <a:chOff x="1778647" y="1301093"/>
              <a:chExt cx="307813" cy="252387"/>
            </a:xfrm>
            <a:noFill/>
          </p:grpSpPr>
          <p:grpSp>
            <p:nvGrpSpPr>
              <p:cNvPr id="194" name="Group 193">
                <a:extLst>
                  <a:ext uri="{FF2B5EF4-FFF2-40B4-BE49-F238E27FC236}">
                    <a16:creationId xmlns:a16="http://schemas.microsoft.com/office/drawing/2014/main" id="{F7663B88-AFEA-4DEB-B65E-2C46C4C8F208}"/>
                  </a:ext>
                </a:extLst>
              </p:cNvPr>
              <p:cNvGrpSpPr/>
              <p:nvPr/>
            </p:nvGrpSpPr>
            <p:grpSpPr>
              <a:xfrm>
                <a:off x="1778647" y="1301093"/>
                <a:ext cx="307813" cy="252387"/>
                <a:chOff x="2107086" y="1452805"/>
                <a:chExt cx="307813" cy="252387"/>
              </a:xfrm>
              <a:grpFill/>
            </p:grpSpPr>
            <p:sp>
              <p:nvSpPr>
                <p:cNvPr id="197" name="Rectangle 196">
                  <a:extLst>
                    <a:ext uri="{FF2B5EF4-FFF2-40B4-BE49-F238E27FC236}">
                      <a16:creationId xmlns:a16="http://schemas.microsoft.com/office/drawing/2014/main" id="{1AE0228F-EFBB-4164-AA70-CD0CEDBDEF01}"/>
                    </a:ext>
                  </a:extLst>
                </p:cNvPr>
                <p:cNvSpPr/>
                <p:nvPr/>
              </p:nvSpPr>
              <p:spPr bwMode="auto">
                <a:xfrm>
                  <a:off x="2107086" y="1596776"/>
                  <a:ext cx="108416" cy="108416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98" name="Rectangle 197">
                  <a:extLst>
                    <a:ext uri="{FF2B5EF4-FFF2-40B4-BE49-F238E27FC236}">
                      <a16:creationId xmlns:a16="http://schemas.microsoft.com/office/drawing/2014/main" id="{F5208A2F-DA17-4BFA-9748-8E1D47F85C08}"/>
                    </a:ext>
                  </a:extLst>
                </p:cNvPr>
                <p:cNvSpPr/>
                <p:nvPr/>
              </p:nvSpPr>
              <p:spPr bwMode="auto">
                <a:xfrm>
                  <a:off x="2252041" y="1452805"/>
                  <a:ext cx="162858" cy="162858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99" name="Rectangle 198">
                  <a:extLst>
                    <a:ext uri="{FF2B5EF4-FFF2-40B4-BE49-F238E27FC236}">
                      <a16:creationId xmlns:a16="http://schemas.microsoft.com/office/drawing/2014/main" id="{9AFA6CF7-665C-41BA-83E0-76748D4CA7A5}"/>
                    </a:ext>
                  </a:extLst>
                </p:cNvPr>
                <p:cNvSpPr/>
                <p:nvPr/>
              </p:nvSpPr>
              <p:spPr bwMode="auto">
                <a:xfrm>
                  <a:off x="2107086" y="1453330"/>
                  <a:ext cx="108416" cy="108416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Rectangle 199">
                  <a:extLst>
                    <a:ext uri="{FF2B5EF4-FFF2-40B4-BE49-F238E27FC236}">
                      <a16:creationId xmlns:a16="http://schemas.microsoft.com/office/drawing/2014/main" id="{BD6E494A-F711-4376-B43A-385746CB906A}"/>
                    </a:ext>
                  </a:extLst>
                </p:cNvPr>
                <p:cNvSpPr/>
                <p:nvPr/>
              </p:nvSpPr>
              <p:spPr bwMode="auto">
                <a:xfrm>
                  <a:off x="2253489" y="1652588"/>
                  <a:ext cx="159337" cy="51699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195" name="Straight Connector 194">
                <a:extLst>
                  <a:ext uri="{FF2B5EF4-FFF2-40B4-BE49-F238E27FC236}">
                    <a16:creationId xmlns:a16="http://schemas.microsoft.com/office/drawing/2014/main" id="{BF58D211-B331-456E-B2B3-68B93271F0DD}"/>
                  </a:ext>
                </a:extLst>
              </p:cNvPr>
              <p:cNvCxnSpPr/>
              <p:nvPr/>
            </p:nvCxnSpPr>
            <p:spPr>
              <a:xfrm>
                <a:off x="1979319" y="1500876"/>
                <a:ext cx="0" cy="51699"/>
              </a:xfrm>
              <a:prstGeom prst="line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</p:cxnSp>
          <p:cxnSp>
            <p:nvCxnSpPr>
              <p:cNvPr id="196" name="Straight Connector 195">
                <a:extLst>
                  <a:ext uri="{FF2B5EF4-FFF2-40B4-BE49-F238E27FC236}">
                    <a16:creationId xmlns:a16="http://schemas.microsoft.com/office/drawing/2014/main" id="{C15CF9C2-DC6E-478B-AC1F-B273292C322F}"/>
                  </a:ext>
                </a:extLst>
              </p:cNvPr>
              <p:cNvCxnSpPr/>
              <p:nvPr/>
            </p:nvCxnSpPr>
            <p:spPr>
              <a:xfrm>
                <a:off x="2031707" y="1500876"/>
                <a:ext cx="0" cy="51699"/>
              </a:xfrm>
              <a:prstGeom prst="line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</p:cxnSp>
        </p:grpSp>
        <p:grpSp>
          <p:nvGrpSpPr>
            <p:cNvPr id="189" name="Group 188">
              <a:extLst>
                <a:ext uri="{FF2B5EF4-FFF2-40B4-BE49-F238E27FC236}">
                  <a16:creationId xmlns:a16="http://schemas.microsoft.com/office/drawing/2014/main" id="{4CC16D52-C5B7-4264-BFE1-2F2C545798B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9957" y="1614888"/>
              <a:ext cx="416196" cy="406286"/>
              <a:chOff x="1759" y="236"/>
              <a:chExt cx="252" cy="246"/>
            </a:xfrm>
            <a:noFill/>
          </p:grpSpPr>
          <p:sp>
            <p:nvSpPr>
              <p:cNvPr id="190" name="Freeform 106">
                <a:extLst>
                  <a:ext uri="{FF2B5EF4-FFF2-40B4-BE49-F238E27FC236}">
                    <a16:creationId xmlns:a16="http://schemas.microsoft.com/office/drawing/2014/main" id="{2AE81E74-B11E-4CA4-A6F3-3B908609E5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" y="236"/>
                <a:ext cx="252" cy="246"/>
              </a:xfrm>
              <a:custGeom>
                <a:avLst/>
                <a:gdLst>
                  <a:gd name="T0" fmla="*/ 0 w 252"/>
                  <a:gd name="T1" fmla="*/ 0 h 246"/>
                  <a:gd name="T2" fmla="*/ 0 w 252"/>
                  <a:gd name="T3" fmla="*/ 246 h 246"/>
                  <a:gd name="T4" fmla="*/ 252 w 252"/>
                  <a:gd name="T5" fmla="*/ 246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2" h="246">
                    <a:moveTo>
                      <a:pt x="0" y="0"/>
                    </a:moveTo>
                    <a:lnTo>
                      <a:pt x="0" y="246"/>
                    </a:lnTo>
                    <a:lnTo>
                      <a:pt x="252" y="246"/>
                    </a:lnTo>
                  </a:path>
                </a:pathLst>
              </a:cu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91" name="Rectangle 190">
                <a:extLst>
                  <a:ext uri="{FF2B5EF4-FFF2-40B4-BE49-F238E27FC236}">
                    <a16:creationId xmlns:a16="http://schemas.microsoft.com/office/drawing/2014/main" id="{852978AC-5339-4296-8EE2-3AA9C4D2EB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99" y="376"/>
                <a:ext cx="32" cy="106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92" name="Rectangle 191">
                <a:extLst>
                  <a:ext uri="{FF2B5EF4-FFF2-40B4-BE49-F238E27FC236}">
                    <a16:creationId xmlns:a16="http://schemas.microsoft.com/office/drawing/2014/main" id="{1B9DF657-6398-4E06-BBB3-D7AC39590F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62" y="283"/>
                <a:ext cx="33" cy="199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93" name="Rectangle 192">
                <a:extLst>
                  <a:ext uri="{FF2B5EF4-FFF2-40B4-BE49-F238E27FC236}">
                    <a16:creationId xmlns:a16="http://schemas.microsoft.com/office/drawing/2014/main" id="{D123D044-536D-4A29-A34E-6DDDDDC560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6" y="324"/>
                <a:ext cx="33" cy="158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01" name="Group 200">
            <a:extLst>
              <a:ext uri="{FF2B5EF4-FFF2-40B4-BE49-F238E27FC236}">
                <a16:creationId xmlns:a16="http://schemas.microsoft.com/office/drawing/2014/main" id="{BA85707F-839A-424A-B2A0-D1E98FBDC69A}"/>
              </a:ext>
            </a:extLst>
          </p:cNvPr>
          <p:cNvGrpSpPr/>
          <p:nvPr/>
        </p:nvGrpSpPr>
        <p:grpSpPr>
          <a:xfrm>
            <a:off x="511757" y="2106315"/>
            <a:ext cx="1167152" cy="348720"/>
            <a:chOff x="1555307" y="5853300"/>
            <a:chExt cx="1271350" cy="379852"/>
          </a:xfrm>
        </p:grpSpPr>
        <p:grpSp>
          <p:nvGrpSpPr>
            <p:cNvPr id="202" name="Group 4">
              <a:extLst>
                <a:ext uri="{FF2B5EF4-FFF2-40B4-BE49-F238E27FC236}">
                  <a16:creationId xmlns:a16="http://schemas.microsoft.com/office/drawing/2014/main" id="{A180F936-1DCF-4DBC-95C5-36179228A57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555307" y="5853300"/>
              <a:ext cx="259568" cy="379852"/>
              <a:chOff x="3526" y="3353"/>
              <a:chExt cx="164" cy="240"/>
            </a:xfrm>
          </p:grpSpPr>
          <p:sp>
            <p:nvSpPr>
              <p:cNvPr id="214" name="Freeform 5">
                <a:extLst>
                  <a:ext uri="{FF2B5EF4-FFF2-40B4-BE49-F238E27FC236}">
                    <a16:creationId xmlns:a16="http://schemas.microsoft.com/office/drawing/2014/main" id="{9D582CFB-74A3-4DED-ADE3-47E392C0D8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6" y="3353"/>
                <a:ext cx="164" cy="215"/>
              </a:xfrm>
              <a:custGeom>
                <a:avLst/>
                <a:gdLst>
                  <a:gd name="T0" fmla="*/ 204 w 226"/>
                  <a:gd name="T1" fmla="*/ 289 h 296"/>
                  <a:gd name="T2" fmla="*/ 226 w 226"/>
                  <a:gd name="T3" fmla="*/ 296 h 296"/>
                  <a:gd name="T4" fmla="*/ 226 w 226"/>
                  <a:gd name="T5" fmla="*/ 55 h 296"/>
                  <a:gd name="T6" fmla="*/ 39 w 226"/>
                  <a:gd name="T7" fmla="*/ 0 h 296"/>
                  <a:gd name="T8" fmla="*/ 0 w 226"/>
                  <a:gd name="T9" fmla="*/ 3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6" h="296">
                    <a:moveTo>
                      <a:pt x="204" y="289"/>
                    </a:moveTo>
                    <a:cubicBezTo>
                      <a:pt x="226" y="296"/>
                      <a:pt x="226" y="296"/>
                      <a:pt x="226" y="296"/>
                    </a:cubicBezTo>
                    <a:cubicBezTo>
                      <a:pt x="226" y="55"/>
                      <a:pt x="226" y="55"/>
                      <a:pt x="226" y="55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0"/>
                      <a:pt x="12" y="0"/>
                      <a:pt x="0" y="34"/>
                    </a:cubicBez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15" name="Freeform 6">
                <a:extLst>
                  <a:ext uri="{FF2B5EF4-FFF2-40B4-BE49-F238E27FC236}">
                    <a16:creationId xmlns:a16="http://schemas.microsoft.com/office/drawing/2014/main" id="{C08DE5EA-D647-4173-97F6-B69160EDC7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" y="3370"/>
                <a:ext cx="120" cy="211"/>
              </a:xfrm>
              <a:custGeom>
                <a:avLst/>
                <a:gdLst>
                  <a:gd name="T0" fmla="*/ 0 w 120"/>
                  <a:gd name="T1" fmla="*/ 0 h 211"/>
                  <a:gd name="T2" fmla="*/ 120 w 120"/>
                  <a:gd name="T3" fmla="*/ 37 h 211"/>
                  <a:gd name="T4" fmla="*/ 120 w 120"/>
                  <a:gd name="T5" fmla="*/ 211 h 211"/>
                  <a:gd name="T6" fmla="*/ 104 w 120"/>
                  <a:gd name="T7" fmla="*/ 206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0" h="211">
                    <a:moveTo>
                      <a:pt x="0" y="0"/>
                    </a:moveTo>
                    <a:lnTo>
                      <a:pt x="120" y="37"/>
                    </a:lnTo>
                    <a:lnTo>
                      <a:pt x="120" y="211"/>
                    </a:lnTo>
                    <a:lnTo>
                      <a:pt x="104" y="206"/>
                    </a:ln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16" name="Freeform 7">
                <a:extLst>
                  <a:ext uri="{FF2B5EF4-FFF2-40B4-BE49-F238E27FC236}">
                    <a16:creationId xmlns:a16="http://schemas.microsoft.com/office/drawing/2014/main" id="{5F4ABE3C-0A13-4A26-8BF3-E8E44E5EC2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7" y="3382"/>
                <a:ext cx="131" cy="211"/>
              </a:xfrm>
              <a:custGeom>
                <a:avLst/>
                <a:gdLst>
                  <a:gd name="T0" fmla="*/ 131 w 131"/>
                  <a:gd name="T1" fmla="*/ 38 h 211"/>
                  <a:gd name="T2" fmla="*/ 131 w 131"/>
                  <a:gd name="T3" fmla="*/ 211 h 211"/>
                  <a:gd name="T4" fmla="*/ 0 w 131"/>
                  <a:gd name="T5" fmla="*/ 173 h 211"/>
                  <a:gd name="T6" fmla="*/ 0 w 131"/>
                  <a:gd name="T7" fmla="*/ 0 h 211"/>
                  <a:gd name="T8" fmla="*/ 131 w 131"/>
                  <a:gd name="T9" fmla="*/ 38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" h="211">
                    <a:moveTo>
                      <a:pt x="131" y="38"/>
                    </a:moveTo>
                    <a:lnTo>
                      <a:pt x="131" y="211"/>
                    </a:lnTo>
                    <a:lnTo>
                      <a:pt x="0" y="173"/>
                    </a:lnTo>
                    <a:lnTo>
                      <a:pt x="0" y="0"/>
                    </a:lnTo>
                    <a:lnTo>
                      <a:pt x="131" y="38"/>
                    </a:lnTo>
                    <a:close/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203" name="Group 202">
              <a:extLst>
                <a:ext uri="{FF2B5EF4-FFF2-40B4-BE49-F238E27FC236}">
                  <a16:creationId xmlns:a16="http://schemas.microsoft.com/office/drawing/2014/main" id="{03D9BD7B-E9BB-43FE-9446-BC231A2CD89A}"/>
                </a:ext>
              </a:extLst>
            </p:cNvPr>
            <p:cNvGrpSpPr/>
            <p:nvPr/>
          </p:nvGrpSpPr>
          <p:grpSpPr>
            <a:xfrm>
              <a:off x="1984596" y="5863452"/>
              <a:ext cx="293717" cy="359549"/>
              <a:chOff x="965200" y="3436897"/>
              <a:chExt cx="528881" cy="647424"/>
            </a:xfrm>
          </p:grpSpPr>
          <p:grpSp>
            <p:nvGrpSpPr>
              <p:cNvPr id="207" name="Group 206">
                <a:extLst>
                  <a:ext uri="{FF2B5EF4-FFF2-40B4-BE49-F238E27FC236}">
                    <a16:creationId xmlns:a16="http://schemas.microsoft.com/office/drawing/2014/main" id="{9AC42740-5F08-4653-9338-1EA9E5E64ABD}"/>
                  </a:ext>
                </a:extLst>
              </p:cNvPr>
              <p:cNvGrpSpPr/>
              <p:nvPr/>
            </p:nvGrpSpPr>
            <p:grpSpPr>
              <a:xfrm flipH="1">
                <a:off x="965200" y="3436897"/>
                <a:ext cx="528881" cy="647424"/>
                <a:chOff x="3003960" y="3685414"/>
                <a:chExt cx="403310" cy="493707"/>
              </a:xfrm>
            </p:grpSpPr>
            <p:sp>
              <p:nvSpPr>
                <p:cNvPr id="212" name="Snip Single Corner Rectangle 26">
                  <a:extLst>
                    <a:ext uri="{FF2B5EF4-FFF2-40B4-BE49-F238E27FC236}">
                      <a16:creationId xmlns:a16="http://schemas.microsoft.com/office/drawing/2014/main" id="{D81CE06F-5C18-480A-91C6-BCFB954F2226}"/>
                    </a:ext>
                  </a:extLst>
                </p:cNvPr>
                <p:cNvSpPr/>
                <p:nvPr/>
              </p:nvSpPr>
              <p:spPr bwMode="auto">
                <a:xfrm flipH="1">
                  <a:off x="3003960" y="3685414"/>
                  <a:ext cx="403310" cy="493707"/>
                </a:xfrm>
                <a:prstGeom prst="snip1Rect">
                  <a:avLst>
                    <a:gd name="adj" fmla="val 28736"/>
                  </a:avLst>
                </a:prstGeom>
                <a:noFill/>
                <a:ln w="12700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13" name="Triangle 27">
                  <a:extLst>
                    <a:ext uri="{FF2B5EF4-FFF2-40B4-BE49-F238E27FC236}">
                      <a16:creationId xmlns:a16="http://schemas.microsoft.com/office/drawing/2014/main" id="{AF1A1921-DF5A-4C0F-ABA9-1B1A6C336659}"/>
                    </a:ext>
                  </a:extLst>
                </p:cNvPr>
                <p:cNvSpPr/>
                <p:nvPr/>
              </p:nvSpPr>
              <p:spPr bwMode="auto">
                <a:xfrm rot="8100000">
                  <a:off x="3012552" y="3733609"/>
                  <a:ext cx="160049" cy="80930"/>
                </a:xfrm>
                <a:prstGeom prst="triangle">
                  <a:avLst/>
                </a:prstGeom>
                <a:noFill/>
                <a:ln w="12700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cxnSp>
            <p:nvCxnSpPr>
              <p:cNvPr id="208" name="Straight Connector 207">
                <a:extLst>
                  <a:ext uri="{FF2B5EF4-FFF2-40B4-BE49-F238E27FC236}">
                    <a16:creationId xmlns:a16="http://schemas.microsoft.com/office/drawing/2014/main" id="{E6817B1A-0E65-4BDA-AD96-C7B1510BC6AE}"/>
                  </a:ext>
                </a:extLst>
              </p:cNvPr>
              <p:cNvCxnSpPr/>
              <p:nvPr/>
            </p:nvCxnSpPr>
            <p:spPr>
              <a:xfrm>
                <a:off x="1047750" y="3578225"/>
                <a:ext cx="2159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9" name="Straight Connector 208">
                <a:extLst>
                  <a:ext uri="{FF2B5EF4-FFF2-40B4-BE49-F238E27FC236}">
                    <a16:creationId xmlns:a16="http://schemas.microsoft.com/office/drawing/2014/main" id="{35C9C49A-7AF7-416E-85C1-7CBF80EA475D}"/>
                  </a:ext>
                </a:extLst>
              </p:cNvPr>
              <p:cNvCxnSpPr/>
              <p:nvPr/>
            </p:nvCxnSpPr>
            <p:spPr>
              <a:xfrm>
                <a:off x="1047750" y="3697817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0" name="Straight Connector 209">
                <a:extLst>
                  <a:ext uri="{FF2B5EF4-FFF2-40B4-BE49-F238E27FC236}">
                    <a16:creationId xmlns:a16="http://schemas.microsoft.com/office/drawing/2014/main" id="{DDAEF2F5-4938-4DAA-99FC-92E2FCC9B4F7}"/>
                  </a:ext>
                </a:extLst>
              </p:cNvPr>
              <p:cNvCxnSpPr/>
              <p:nvPr/>
            </p:nvCxnSpPr>
            <p:spPr>
              <a:xfrm>
                <a:off x="1047750" y="3817409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1" name="Straight Connector 210">
                <a:extLst>
                  <a:ext uri="{FF2B5EF4-FFF2-40B4-BE49-F238E27FC236}">
                    <a16:creationId xmlns:a16="http://schemas.microsoft.com/office/drawing/2014/main" id="{AEA2B76E-2C65-4D73-B1A0-12F6BEFA8F4E}"/>
                  </a:ext>
                </a:extLst>
              </p:cNvPr>
              <p:cNvCxnSpPr/>
              <p:nvPr/>
            </p:nvCxnSpPr>
            <p:spPr>
              <a:xfrm>
                <a:off x="1047750" y="3937000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4" name="Group 203">
              <a:extLst>
                <a:ext uri="{FF2B5EF4-FFF2-40B4-BE49-F238E27FC236}">
                  <a16:creationId xmlns:a16="http://schemas.microsoft.com/office/drawing/2014/main" id="{08356157-CBED-409B-A8D1-82D785DED3F9}"/>
                </a:ext>
              </a:extLst>
            </p:cNvPr>
            <p:cNvGrpSpPr/>
            <p:nvPr/>
          </p:nvGrpSpPr>
          <p:grpSpPr>
            <a:xfrm>
              <a:off x="2448035" y="5853915"/>
              <a:ext cx="378622" cy="378622"/>
              <a:chOff x="1658620" y="1705294"/>
              <a:chExt cx="326376" cy="326376"/>
            </a:xfrm>
          </p:grpSpPr>
          <p:sp>
            <p:nvSpPr>
              <p:cNvPr id="205" name="Oval 204">
                <a:extLst>
                  <a:ext uri="{FF2B5EF4-FFF2-40B4-BE49-F238E27FC236}">
                    <a16:creationId xmlns:a16="http://schemas.microsoft.com/office/drawing/2014/main" id="{F51EC649-710F-49C7-89D4-41C05E1471BA}"/>
                  </a:ext>
                </a:extLst>
              </p:cNvPr>
              <p:cNvSpPr/>
              <p:nvPr/>
            </p:nvSpPr>
            <p:spPr bwMode="auto">
              <a:xfrm>
                <a:off x="1658620" y="1705294"/>
                <a:ext cx="326376" cy="326376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06" name="Isosceles Triangle 205">
                <a:extLst>
                  <a:ext uri="{FF2B5EF4-FFF2-40B4-BE49-F238E27FC236}">
                    <a16:creationId xmlns:a16="http://schemas.microsoft.com/office/drawing/2014/main" id="{B6C9DB49-2305-4BDB-B50C-583D0CD563E1}"/>
                  </a:ext>
                </a:extLst>
              </p:cNvPr>
              <p:cNvSpPr/>
              <p:nvPr/>
            </p:nvSpPr>
            <p:spPr bwMode="auto">
              <a:xfrm rot="5400000">
                <a:off x="1759612" y="1802351"/>
                <a:ext cx="153423" cy="132260"/>
              </a:xfrm>
              <a:prstGeom prst="triangl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217" name="Group 216">
            <a:extLst>
              <a:ext uri="{FF2B5EF4-FFF2-40B4-BE49-F238E27FC236}">
                <a16:creationId xmlns:a16="http://schemas.microsoft.com/office/drawing/2014/main" id="{ACFD76B3-52C3-4957-8C9A-9BEAD33F2D21}"/>
              </a:ext>
            </a:extLst>
          </p:cNvPr>
          <p:cNvGrpSpPr/>
          <p:nvPr/>
        </p:nvGrpSpPr>
        <p:grpSpPr>
          <a:xfrm>
            <a:off x="4878110" y="2594469"/>
            <a:ext cx="554226" cy="494220"/>
            <a:chOff x="2488012" y="1320237"/>
            <a:chExt cx="4696415" cy="4187934"/>
          </a:xfrm>
        </p:grpSpPr>
        <p:sp>
          <p:nvSpPr>
            <p:cNvPr id="218" name="Hexagon 217">
              <a:extLst>
                <a:ext uri="{FF2B5EF4-FFF2-40B4-BE49-F238E27FC236}">
                  <a16:creationId xmlns:a16="http://schemas.microsoft.com/office/drawing/2014/main" id="{2A91B5B0-D88F-45CF-AE59-737DBF1B2680}"/>
                </a:ext>
              </a:extLst>
            </p:cNvPr>
            <p:cNvSpPr/>
            <p:nvPr/>
          </p:nvSpPr>
          <p:spPr bwMode="auto">
            <a:xfrm>
              <a:off x="2488012" y="1320237"/>
              <a:ext cx="4696415" cy="4187934"/>
            </a:xfrm>
            <a:prstGeom prst="hexagon">
              <a:avLst/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9" name="Snip Single Corner Rectangle 26">
              <a:extLst>
                <a:ext uri="{FF2B5EF4-FFF2-40B4-BE49-F238E27FC236}">
                  <a16:creationId xmlns:a16="http://schemas.microsoft.com/office/drawing/2014/main" id="{1F4D6FFD-7F2E-49D4-AEDE-48C2882BA2F5}"/>
                </a:ext>
              </a:extLst>
            </p:cNvPr>
            <p:cNvSpPr/>
            <p:nvPr/>
          </p:nvSpPr>
          <p:spPr bwMode="auto">
            <a:xfrm>
              <a:off x="3677764" y="2189582"/>
              <a:ext cx="2316905" cy="2449244"/>
            </a:xfrm>
            <a:prstGeom prst="snip1Rect">
              <a:avLst>
                <a:gd name="adj" fmla="val 28736"/>
              </a:avLst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91440" rIns="0" bIns="9144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20" name="Group 219">
              <a:extLst>
                <a:ext uri="{FF2B5EF4-FFF2-40B4-BE49-F238E27FC236}">
                  <a16:creationId xmlns:a16="http://schemas.microsoft.com/office/drawing/2014/main" id="{6BF05F4B-9F37-4930-A1BB-00AFDB4176D4}"/>
                </a:ext>
              </a:extLst>
            </p:cNvPr>
            <p:cNvGrpSpPr/>
            <p:nvPr/>
          </p:nvGrpSpPr>
          <p:grpSpPr>
            <a:xfrm>
              <a:off x="4271145" y="2716507"/>
              <a:ext cx="790235" cy="1472560"/>
              <a:chOff x="4917030" y="1019829"/>
              <a:chExt cx="123056" cy="229308"/>
            </a:xfrm>
          </p:grpSpPr>
          <p:sp>
            <p:nvSpPr>
              <p:cNvPr id="222" name="Freeform: Shape 221">
                <a:extLst>
                  <a:ext uri="{FF2B5EF4-FFF2-40B4-BE49-F238E27FC236}">
                    <a16:creationId xmlns:a16="http://schemas.microsoft.com/office/drawing/2014/main" id="{2CB26C17-7F70-4A2E-A066-67C17C8DB648}"/>
                  </a:ext>
                </a:extLst>
              </p:cNvPr>
              <p:cNvSpPr/>
              <p:nvPr/>
            </p:nvSpPr>
            <p:spPr bwMode="auto">
              <a:xfrm>
                <a:off x="4981844" y="1019829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23" name="Freeform: Shape 222">
                <a:extLst>
                  <a:ext uri="{FF2B5EF4-FFF2-40B4-BE49-F238E27FC236}">
                    <a16:creationId xmlns:a16="http://schemas.microsoft.com/office/drawing/2014/main" id="{1189FCDD-E8DF-40ED-B5AB-3D6BE95F1FF6}"/>
                  </a:ext>
                </a:extLst>
              </p:cNvPr>
              <p:cNvSpPr/>
              <p:nvPr/>
            </p:nvSpPr>
            <p:spPr bwMode="auto">
              <a:xfrm>
                <a:off x="4929274" y="1019829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24" name="Freeform: Shape 223">
                <a:extLst>
                  <a:ext uri="{FF2B5EF4-FFF2-40B4-BE49-F238E27FC236}">
                    <a16:creationId xmlns:a16="http://schemas.microsoft.com/office/drawing/2014/main" id="{0144BAA4-01C9-46CC-A1FE-41F39834867B}"/>
                  </a:ext>
                </a:extLst>
              </p:cNvPr>
              <p:cNvSpPr/>
              <p:nvPr/>
            </p:nvSpPr>
            <p:spPr bwMode="auto">
              <a:xfrm>
                <a:off x="4917030" y="1156660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25" name="Freeform: Shape 224">
                <a:extLst>
                  <a:ext uri="{FF2B5EF4-FFF2-40B4-BE49-F238E27FC236}">
                    <a16:creationId xmlns:a16="http://schemas.microsoft.com/office/drawing/2014/main" id="{9EEABC8C-9F5F-4921-B8D0-0D1AF521D512}"/>
                  </a:ext>
                </a:extLst>
              </p:cNvPr>
              <p:cNvSpPr/>
              <p:nvPr/>
            </p:nvSpPr>
            <p:spPr bwMode="auto">
              <a:xfrm>
                <a:off x="5010414" y="1156660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21" name="Right Triangle 220">
              <a:extLst>
                <a:ext uri="{FF2B5EF4-FFF2-40B4-BE49-F238E27FC236}">
                  <a16:creationId xmlns:a16="http://schemas.microsoft.com/office/drawing/2014/main" id="{0E7E8C24-3299-4341-969B-653A0D97635A}"/>
                </a:ext>
              </a:extLst>
            </p:cNvPr>
            <p:cNvSpPr/>
            <p:nvPr/>
          </p:nvSpPr>
          <p:spPr bwMode="auto">
            <a:xfrm>
              <a:off x="5326469" y="2189582"/>
              <a:ext cx="668200" cy="662475"/>
            </a:xfrm>
            <a:prstGeom prst="rtTriangle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226" name="Group 225">
            <a:extLst>
              <a:ext uri="{FF2B5EF4-FFF2-40B4-BE49-F238E27FC236}">
                <a16:creationId xmlns:a16="http://schemas.microsoft.com/office/drawing/2014/main" id="{379BCE43-AECC-4A67-8CCD-78DA8DD5B336}"/>
              </a:ext>
            </a:extLst>
          </p:cNvPr>
          <p:cNvGrpSpPr/>
          <p:nvPr/>
        </p:nvGrpSpPr>
        <p:grpSpPr>
          <a:xfrm>
            <a:off x="9081256" y="4439748"/>
            <a:ext cx="732312" cy="719160"/>
            <a:chOff x="2549926" y="1227604"/>
            <a:chExt cx="5177116" cy="5084148"/>
          </a:xfrm>
        </p:grpSpPr>
        <p:sp>
          <p:nvSpPr>
            <p:cNvPr id="227" name="Freeform: Shape 821">
              <a:extLst>
                <a:ext uri="{FF2B5EF4-FFF2-40B4-BE49-F238E27FC236}">
                  <a16:creationId xmlns:a16="http://schemas.microsoft.com/office/drawing/2014/main" id="{644ADA88-6537-4CC5-92A0-2C0B29722B29}"/>
                </a:ext>
              </a:extLst>
            </p:cNvPr>
            <p:cNvSpPr/>
            <p:nvPr/>
          </p:nvSpPr>
          <p:spPr bwMode="auto">
            <a:xfrm>
              <a:off x="2549926" y="1227604"/>
              <a:ext cx="4001268" cy="3614059"/>
            </a:xfrm>
            <a:custGeom>
              <a:avLst/>
              <a:gdLst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9101 w 4001268"/>
                <a:gd name="connsiteY3" fmla="*/ 3614059 h 3614059"/>
                <a:gd name="connsiteX4" fmla="*/ 3372234 w 4001268"/>
                <a:gd name="connsiteY4" fmla="*/ 3614059 h 3614059"/>
                <a:gd name="connsiteX5" fmla="*/ 3372234 w 4001268"/>
                <a:gd name="connsiteY5" fmla="*/ 1559139 h 3614059"/>
                <a:gd name="connsiteX6" fmla="*/ 629034 w 4001268"/>
                <a:gd name="connsiteY6" fmla="*/ 1559139 h 3614059"/>
                <a:gd name="connsiteX7" fmla="*/ 629034 w 4001268"/>
                <a:gd name="connsiteY7" fmla="*/ 3614059 h 3614059"/>
                <a:gd name="connsiteX8" fmla="*/ 342168 w 4001268"/>
                <a:gd name="connsiteY8" fmla="*/ 3614059 h 3614059"/>
                <a:gd name="connsiteX9" fmla="*/ 342168 w 4001268"/>
                <a:gd name="connsiteY9" fmla="*/ 1445188 h 3614059"/>
                <a:gd name="connsiteX10" fmla="*/ 0 w 4001268"/>
                <a:gd name="connsiteY10" fmla="*/ 1445188 h 3614059"/>
                <a:gd name="connsiteX11" fmla="*/ 2000634 w 4001268"/>
                <a:gd name="connsiteY11" fmla="*/ 0 h 3614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01268" h="3614059">
                  <a:moveTo>
                    <a:pt x="2000634" y="0"/>
                  </a:moveTo>
                  <a:lnTo>
                    <a:pt x="4001268" y="1445188"/>
                  </a:lnTo>
                  <a:lnTo>
                    <a:pt x="3659101" y="1445188"/>
                  </a:lnTo>
                  <a:lnTo>
                    <a:pt x="3659101" y="3614059"/>
                  </a:lnTo>
                  <a:lnTo>
                    <a:pt x="3372234" y="3614059"/>
                  </a:lnTo>
                  <a:lnTo>
                    <a:pt x="3372234" y="1559139"/>
                  </a:lnTo>
                  <a:lnTo>
                    <a:pt x="629034" y="1559139"/>
                  </a:lnTo>
                  <a:lnTo>
                    <a:pt x="629034" y="3614059"/>
                  </a:lnTo>
                  <a:lnTo>
                    <a:pt x="342168" y="3614059"/>
                  </a:lnTo>
                  <a:lnTo>
                    <a:pt x="342168" y="1445188"/>
                  </a:lnTo>
                  <a:lnTo>
                    <a:pt x="0" y="1445188"/>
                  </a:lnTo>
                  <a:lnTo>
                    <a:pt x="2000634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8" name="Rectangle 227">
              <a:extLst>
                <a:ext uri="{FF2B5EF4-FFF2-40B4-BE49-F238E27FC236}">
                  <a16:creationId xmlns:a16="http://schemas.microsoft.com/office/drawing/2014/main" id="{836437FE-98E1-44E0-8F10-32F4E8E76744}"/>
                </a:ext>
              </a:extLst>
            </p:cNvPr>
            <p:cNvSpPr/>
            <p:nvPr/>
          </p:nvSpPr>
          <p:spPr bwMode="auto">
            <a:xfrm>
              <a:off x="3364798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9" name="Rectangle 228">
              <a:extLst>
                <a:ext uri="{FF2B5EF4-FFF2-40B4-BE49-F238E27FC236}">
                  <a16:creationId xmlns:a16="http://schemas.microsoft.com/office/drawing/2014/main" id="{77FE236E-00BA-475C-925A-6F209F976764}"/>
                </a:ext>
              </a:extLst>
            </p:cNvPr>
            <p:cNvSpPr/>
            <p:nvPr/>
          </p:nvSpPr>
          <p:spPr bwMode="auto">
            <a:xfrm>
              <a:off x="3968585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0" name="Rectangle 229">
              <a:extLst>
                <a:ext uri="{FF2B5EF4-FFF2-40B4-BE49-F238E27FC236}">
                  <a16:creationId xmlns:a16="http://schemas.microsoft.com/office/drawing/2014/main" id="{F94631E6-296F-416E-9BB6-209EEE29A9A7}"/>
                </a:ext>
              </a:extLst>
            </p:cNvPr>
            <p:cNvSpPr/>
            <p:nvPr/>
          </p:nvSpPr>
          <p:spPr bwMode="auto">
            <a:xfrm>
              <a:off x="4572371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1" name="Rectangle 230">
              <a:extLst>
                <a:ext uri="{FF2B5EF4-FFF2-40B4-BE49-F238E27FC236}">
                  <a16:creationId xmlns:a16="http://schemas.microsoft.com/office/drawing/2014/main" id="{0D82F08C-0183-45AE-91EF-A0A05D07C50F}"/>
                </a:ext>
              </a:extLst>
            </p:cNvPr>
            <p:cNvSpPr/>
            <p:nvPr/>
          </p:nvSpPr>
          <p:spPr bwMode="auto">
            <a:xfrm>
              <a:off x="3364798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2" name="Rectangle 231">
              <a:extLst>
                <a:ext uri="{FF2B5EF4-FFF2-40B4-BE49-F238E27FC236}">
                  <a16:creationId xmlns:a16="http://schemas.microsoft.com/office/drawing/2014/main" id="{3C328A51-1C3A-40C5-B74E-FF71A43AEC48}"/>
                </a:ext>
              </a:extLst>
            </p:cNvPr>
            <p:cNvSpPr/>
            <p:nvPr/>
          </p:nvSpPr>
          <p:spPr bwMode="auto">
            <a:xfrm>
              <a:off x="3968585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3" name="Rectangle 232">
              <a:extLst>
                <a:ext uri="{FF2B5EF4-FFF2-40B4-BE49-F238E27FC236}">
                  <a16:creationId xmlns:a16="http://schemas.microsoft.com/office/drawing/2014/main" id="{01FEAE0E-8FD7-45C5-92CA-5F089DE50647}"/>
                </a:ext>
              </a:extLst>
            </p:cNvPr>
            <p:cNvSpPr/>
            <p:nvPr/>
          </p:nvSpPr>
          <p:spPr bwMode="auto">
            <a:xfrm>
              <a:off x="3777367" y="3020291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4" name="Cylinder 828">
              <a:extLst>
                <a:ext uri="{FF2B5EF4-FFF2-40B4-BE49-F238E27FC236}">
                  <a16:creationId xmlns:a16="http://schemas.microsoft.com/office/drawing/2014/main" id="{3FC58174-45E2-44AD-A09E-0718C25DDF96}"/>
                </a:ext>
              </a:extLst>
            </p:cNvPr>
            <p:cNvSpPr/>
            <p:nvPr/>
          </p:nvSpPr>
          <p:spPr bwMode="auto">
            <a:xfrm>
              <a:off x="5335724" y="3170126"/>
              <a:ext cx="2391318" cy="3141626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35" name="Group 234">
            <a:extLst>
              <a:ext uri="{FF2B5EF4-FFF2-40B4-BE49-F238E27FC236}">
                <a16:creationId xmlns:a16="http://schemas.microsoft.com/office/drawing/2014/main" id="{2C711776-E149-4F75-AFD3-59EB67F65E1E}"/>
              </a:ext>
            </a:extLst>
          </p:cNvPr>
          <p:cNvGrpSpPr/>
          <p:nvPr/>
        </p:nvGrpSpPr>
        <p:grpSpPr>
          <a:xfrm>
            <a:off x="2953700" y="2597853"/>
            <a:ext cx="485337" cy="487453"/>
            <a:chOff x="5279190" y="5401430"/>
            <a:chExt cx="1101836" cy="1106637"/>
          </a:xfrm>
        </p:grpSpPr>
        <p:sp>
          <p:nvSpPr>
            <p:cNvPr id="236" name="Freeform: Shape 815">
              <a:extLst>
                <a:ext uri="{FF2B5EF4-FFF2-40B4-BE49-F238E27FC236}">
                  <a16:creationId xmlns:a16="http://schemas.microsoft.com/office/drawing/2014/main" id="{2B8465E2-9D20-4AB2-A850-C964298268B2}"/>
                </a:ext>
              </a:extLst>
            </p:cNvPr>
            <p:cNvSpPr/>
            <p:nvPr/>
          </p:nvSpPr>
          <p:spPr bwMode="auto">
            <a:xfrm>
              <a:off x="5708249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7" name="Freeform: Shape 816">
              <a:extLst>
                <a:ext uri="{FF2B5EF4-FFF2-40B4-BE49-F238E27FC236}">
                  <a16:creationId xmlns:a16="http://schemas.microsoft.com/office/drawing/2014/main" id="{7DF0C52A-D030-4F44-8E2E-E013E51103A0}"/>
                </a:ext>
              </a:extLst>
            </p:cNvPr>
            <p:cNvSpPr/>
            <p:nvPr/>
          </p:nvSpPr>
          <p:spPr bwMode="auto">
            <a:xfrm>
              <a:off x="5921817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8" name="Freeform: Shape 817">
              <a:extLst>
                <a:ext uri="{FF2B5EF4-FFF2-40B4-BE49-F238E27FC236}">
                  <a16:creationId xmlns:a16="http://schemas.microsoft.com/office/drawing/2014/main" id="{EB43C86E-F81C-4379-91E7-4B081F3B8C08}"/>
                </a:ext>
              </a:extLst>
            </p:cNvPr>
            <p:cNvSpPr/>
            <p:nvPr/>
          </p:nvSpPr>
          <p:spPr bwMode="auto">
            <a:xfrm>
              <a:off x="6135385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9" name="Freeform: Shape 818">
              <a:extLst>
                <a:ext uri="{FF2B5EF4-FFF2-40B4-BE49-F238E27FC236}">
                  <a16:creationId xmlns:a16="http://schemas.microsoft.com/office/drawing/2014/main" id="{02A02B4F-40AC-420C-998D-28F31DE902FD}"/>
                </a:ext>
              </a:extLst>
            </p:cNvPr>
            <p:cNvSpPr/>
            <p:nvPr/>
          </p:nvSpPr>
          <p:spPr bwMode="auto">
            <a:xfrm>
              <a:off x="5279191" y="5499596"/>
              <a:ext cx="1101835" cy="1008471"/>
            </a:xfrm>
            <a:custGeom>
              <a:avLst/>
              <a:gdLst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245153 w 1101835"/>
                <a:gd name="connsiteY9" fmla="*/ 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336593 w 1101835"/>
                <a:gd name="connsiteY9" fmla="*/ 9144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0" fmla="*/ 489041 w 1101835"/>
                <a:gd name="connsiteY0" fmla="*/ 0 h 1008471"/>
                <a:gd name="connsiteX1" fmla="*/ 490307 w 1101835"/>
                <a:gd name="connsiteY1" fmla="*/ 551557 h 1008471"/>
                <a:gd name="connsiteX2" fmla="*/ 796071 w 1101835"/>
                <a:gd name="connsiteY2" fmla="*/ 284445 h 1008471"/>
                <a:gd name="connsiteX3" fmla="*/ 796071 w 1101835"/>
                <a:gd name="connsiteY3" fmla="*/ 551557 h 1008471"/>
                <a:gd name="connsiteX4" fmla="*/ 1101835 w 1101835"/>
                <a:gd name="connsiteY4" fmla="*/ 284445 h 1008471"/>
                <a:gd name="connsiteX5" fmla="*/ 1101835 w 1101835"/>
                <a:gd name="connsiteY5" fmla="*/ 1008471 h 1008471"/>
                <a:gd name="connsiteX6" fmla="*/ 0 w 1101835"/>
                <a:gd name="connsiteY6" fmla="*/ 1008471 h 1008471"/>
                <a:gd name="connsiteX7" fmla="*/ 1265 w 1101835"/>
                <a:gd name="connsiteY7" fmla="*/ 0 h 10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1835" h="1008471">
                  <a:moveTo>
                    <a:pt x="489041" y="0"/>
                  </a:moveTo>
                  <a:lnTo>
                    <a:pt x="490307" y="551557"/>
                  </a:lnTo>
                  <a:lnTo>
                    <a:pt x="796071" y="284445"/>
                  </a:lnTo>
                  <a:lnTo>
                    <a:pt x="796071" y="551557"/>
                  </a:lnTo>
                  <a:lnTo>
                    <a:pt x="1101835" y="284445"/>
                  </a:lnTo>
                  <a:lnTo>
                    <a:pt x="1101835" y="1008471"/>
                  </a:lnTo>
                  <a:lnTo>
                    <a:pt x="0" y="1008471"/>
                  </a:lnTo>
                  <a:cubicBezTo>
                    <a:pt x="422" y="672314"/>
                    <a:pt x="843" y="336157"/>
                    <a:pt x="1265" y="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 useBgFill="1">
          <p:nvSpPr>
            <p:cNvPr id="240" name="Freeform: Shape 819">
              <a:extLst>
                <a:ext uri="{FF2B5EF4-FFF2-40B4-BE49-F238E27FC236}">
                  <a16:creationId xmlns:a16="http://schemas.microsoft.com/office/drawing/2014/main" id="{250DDAA1-06F9-470C-B041-1F4DD77E409E}"/>
                </a:ext>
              </a:extLst>
            </p:cNvPr>
            <p:cNvSpPr/>
            <p:nvPr/>
          </p:nvSpPr>
          <p:spPr bwMode="auto">
            <a:xfrm>
              <a:off x="5279190" y="5401430"/>
              <a:ext cx="488333" cy="201776"/>
            </a:xfrm>
            <a:custGeom>
              <a:avLst/>
              <a:gdLst>
                <a:gd name="connsiteX0" fmla="*/ 246301 w 492602"/>
                <a:gd name="connsiteY0" fmla="*/ 0 h 201776"/>
                <a:gd name="connsiteX1" fmla="*/ 492602 w 492602"/>
                <a:gd name="connsiteY1" fmla="*/ 100888 h 201776"/>
                <a:gd name="connsiteX2" fmla="*/ 246301 w 492602"/>
                <a:gd name="connsiteY2" fmla="*/ 201776 h 201776"/>
                <a:gd name="connsiteX3" fmla="*/ 0 w 492602"/>
                <a:gd name="connsiteY3" fmla="*/ 100888 h 201776"/>
                <a:gd name="connsiteX4" fmla="*/ 246301 w 492602"/>
                <a:gd name="connsiteY4" fmla="*/ 0 h 20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602" h="201776">
                  <a:moveTo>
                    <a:pt x="246301" y="0"/>
                  </a:moveTo>
                  <a:cubicBezTo>
                    <a:pt x="382329" y="0"/>
                    <a:pt x="492602" y="45169"/>
                    <a:pt x="492602" y="100888"/>
                  </a:cubicBezTo>
                  <a:cubicBezTo>
                    <a:pt x="492602" y="156607"/>
                    <a:pt x="382329" y="201776"/>
                    <a:pt x="246301" y="201776"/>
                  </a:cubicBezTo>
                  <a:cubicBezTo>
                    <a:pt x="110273" y="201776"/>
                    <a:pt x="0" y="156607"/>
                    <a:pt x="0" y="100888"/>
                  </a:cubicBezTo>
                  <a:cubicBezTo>
                    <a:pt x="0" y="45169"/>
                    <a:pt x="110273" y="0"/>
                    <a:pt x="246301" y="0"/>
                  </a:cubicBezTo>
                  <a:close/>
                </a:path>
              </a:pathLst>
            </a:custGeom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cxnSp>
        <p:nvCxnSpPr>
          <p:cNvPr id="241" name="Connector: Elbow 240">
            <a:extLst>
              <a:ext uri="{FF2B5EF4-FFF2-40B4-BE49-F238E27FC236}">
                <a16:creationId xmlns:a16="http://schemas.microsoft.com/office/drawing/2014/main" id="{DE4C24EB-DCCD-46F8-8A4C-B194A923741D}"/>
              </a:ext>
            </a:extLst>
          </p:cNvPr>
          <p:cNvCxnSpPr>
            <a:cxnSpLocks/>
            <a:stCxn id="170" idx="2"/>
          </p:cNvCxnSpPr>
          <p:nvPr/>
        </p:nvCxnSpPr>
        <p:spPr>
          <a:xfrm rot="16200000" flipH="1">
            <a:off x="6425813" y="2277074"/>
            <a:ext cx="1129678" cy="3640738"/>
          </a:xfrm>
          <a:prstGeom prst="bentConnector2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Straight Arrow Connector 241">
            <a:extLst>
              <a:ext uri="{FF2B5EF4-FFF2-40B4-BE49-F238E27FC236}">
                <a16:creationId xmlns:a16="http://schemas.microsoft.com/office/drawing/2014/main" id="{AA7B7D6F-3B7E-46B1-9686-48E2509D6352}"/>
              </a:ext>
            </a:extLst>
          </p:cNvPr>
          <p:cNvCxnSpPr>
            <a:cxnSpLocks/>
          </p:cNvCxnSpPr>
          <p:nvPr/>
        </p:nvCxnSpPr>
        <p:spPr>
          <a:xfrm>
            <a:off x="3572438" y="4836624"/>
            <a:ext cx="5238582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Straight Arrow Connector 242">
            <a:extLst>
              <a:ext uri="{FF2B5EF4-FFF2-40B4-BE49-F238E27FC236}">
                <a16:creationId xmlns:a16="http://schemas.microsoft.com/office/drawing/2014/main" id="{303E9029-72B0-4A9D-8810-3A09B49E9137}"/>
              </a:ext>
            </a:extLst>
          </p:cNvPr>
          <p:cNvCxnSpPr>
            <a:cxnSpLocks/>
          </p:cNvCxnSpPr>
          <p:nvPr/>
        </p:nvCxnSpPr>
        <p:spPr>
          <a:xfrm>
            <a:off x="3572437" y="2828043"/>
            <a:ext cx="1187822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4" name="Straight Arrow Connector 243">
            <a:extLst>
              <a:ext uri="{FF2B5EF4-FFF2-40B4-BE49-F238E27FC236}">
                <a16:creationId xmlns:a16="http://schemas.microsoft.com/office/drawing/2014/main" id="{0831E5F1-BF93-47A7-9FCA-355022A895B3}"/>
              </a:ext>
            </a:extLst>
          </p:cNvPr>
          <p:cNvCxnSpPr>
            <a:cxnSpLocks/>
          </p:cNvCxnSpPr>
          <p:nvPr/>
        </p:nvCxnSpPr>
        <p:spPr>
          <a:xfrm>
            <a:off x="2316994" y="2828043"/>
            <a:ext cx="448119" cy="1665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Straight Arrow Connector 244">
            <a:extLst>
              <a:ext uri="{FF2B5EF4-FFF2-40B4-BE49-F238E27FC236}">
                <a16:creationId xmlns:a16="http://schemas.microsoft.com/office/drawing/2014/main" id="{273F52C6-F86E-4C99-9D4C-14FC4C486DF3}"/>
              </a:ext>
            </a:extLst>
          </p:cNvPr>
          <p:cNvCxnSpPr>
            <a:cxnSpLocks/>
          </p:cNvCxnSpPr>
          <p:nvPr/>
        </p:nvCxnSpPr>
        <p:spPr>
          <a:xfrm>
            <a:off x="2316994" y="4834959"/>
            <a:ext cx="448119" cy="1665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6" name="Group 245">
            <a:extLst>
              <a:ext uri="{FF2B5EF4-FFF2-40B4-BE49-F238E27FC236}">
                <a16:creationId xmlns:a16="http://schemas.microsoft.com/office/drawing/2014/main" id="{ABCBAFDB-E5BE-4925-ADA1-D02421E4D6AE}"/>
              </a:ext>
            </a:extLst>
          </p:cNvPr>
          <p:cNvGrpSpPr/>
          <p:nvPr/>
        </p:nvGrpSpPr>
        <p:grpSpPr>
          <a:xfrm>
            <a:off x="2953700" y="4519140"/>
            <a:ext cx="485337" cy="487453"/>
            <a:chOff x="5279190" y="5401430"/>
            <a:chExt cx="1101836" cy="1106637"/>
          </a:xfrm>
        </p:grpSpPr>
        <p:sp>
          <p:nvSpPr>
            <p:cNvPr id="247" name="Freeform: Shape 815">
              <a:extLst>
                <a:ext uri="{FF2B5EF4-FFF2-40B4-BE49-F238E27FC236}">
                  <a16:creationId xmlns:a16="http://schemas.microsoft.com/office/drawing/2014/main" id="{73BFD031-A6F6-4371-A934-5BC3EA323AAA}"/>
                </a:ext>
              </a:extLst>
            </p:cNvPr>
            <p:cNvSpPr/>
            <p:nvPr/>
          </p:nvSpPr>
          <p:spPr bwMode="auto">
            <a:xfrm>
              <a:off x="5708249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8" name="Freeform: Shape 816">
              <a:extLst>
                <a:ext uri="{FF2B5EF4-FFF2-40B4-BE49-F238E27FC236}">
                  <a16:creationId xmlns:a16="http://schemas.microsoft.com/office/drawing/2014/main" id="{5DB2FBED-40CA-4C29-88DF-9B607E3A8DD1}"/>
                </a:ext>
              </a:extLst>
            </p:cNvPr>
            <p:cNvSpPr/>
            <p:nvPr/>
          </p:nvSpPr>
          <p:spPr bwMode="auto">
            <a:xfrm>
              <a:off x="5921817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9" name="Freeform: Shape 817">
              <a:extLst>
                <a:ext uri="{FF2B5EF4-FFF2-40B4-BE49-F238E27FC236}">
                  <a16:creationId xmlns:a16="http://schemas.microsoft.com/office/drawing/2014/main" id="{F71923D8-DAE9-4303-9907-8749A9133330}"/>
                </a:ext>
              </a:extLst>
            </p:cNvPr>
            <p:cNvSpPr/>
            <p:nvPr/>
          </p:nvSpPr>
          <p:spPr bwMode="auto">
            <a:xfrm>
              <a:off x="6135385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0" name="Freeform: Shape 818">
              <a:extLst>
                <a:ext uri="{FF2B5EF4-FFF2-40B4-BE49-F238E27FC236}">
                  <a16:creationId xmlns:a16="http://schemas.microsoft.com/office/drawing/2014/main" id="{927E12B2-DAFA-4255-A3A5-576D29F99385}"/>
                </a:ext>
              </a:extLst>
            </p:cNvPr>
            <p:cNvSpPr/>
            <p:nvPr/>
          </p:nvSpPr>
          <p:spPr bwMode="auto">
            <a:xfrm>
              <a:off x="5279191" y="5499596"/>
              <a:ext cx="1101835" cy="1008471"/>
            </a:xfrm>
            <a:custGeom>
              <a:avLst/>
              <a:gdLst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245153 w 1101835"/>
                <a:gd name="connsiteY9" fmla="*/ 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336593 w 1101835"/>
                <a:gd name="connsiteY9" fmla="*/ 9144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0" fmla="*/ 489041 w 1101835"/>
                <a:gd name="connsiteY0" fmla="*/ 0 h 1008471"/>
                <a:gd name="connsiteX1" fmla="*/ 490307 w 1101835"/>
                <a:gd name="connsiteY1" fmla="*/ 551557 h 1008471"/>
                <a:gd name="connsiteX2" fmla="*/ 796071 w 1101835"/>
                <a:gd name="connsiteY2" fmla="*/ 284445 h 1008471"/>
                <a:gd name="connsiteX3" fmla="*/ 796071 w 1101835"/>
                <a:gd name="connsiteY3" fmla="*/ 551557 h 1008471"/>
                <a:gd name="connsiteX4" fmla="*/ 1101835 w 1101835"/>
                <a:gd name="connsiteY4" fmla="*/ 284445 h 1008471"/>
                <a:gd name="connsiteX5" fmla="*/ 1101835 w 1101835"/>
                <a:gd name="connsiteY5" fmla="*/ 1008471 h 1008471"/>
                <a:gd name="connsiteX6" fmla="*/ 0 w 1101835"/>
                <a:gd name="connsiteY6" fmla="*/ 1008471 h 1008471"/>
                <a:gd name="connsiteX7" fmla="*/ 1265 w 1101835"/>
                <a:gd name="connsiteY7" fmla="*/ 0 h 10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1835" h="1008471">
                  <a:moveTo>
                    <a:pt x="489041" y="0"/>
                  </a:moveTo>
                  <a:lnTo>
                    <a:pt x="490307" y="551557"/>
                  </a:lnTo>
                  <a:lnTo>
                    <a:pt x="796071" y="284445"/>
                  </a:lnTo>
                  <a:lnTo>
                    <a:pt x="796071" y="551557"/>
                  </a:lnTo>
                  <a:lnTo>
                    <a:pt x="1101835" y="284445"/>
                  </a:lnTo>
                  <a:lnTo>
                    <a:pt x="1101835" y="1008471"/>
                  </a:lnTo>
                  <a:lnTo>
                    <a:pt x="0" y="1008471"/>
                  </a:lnTo>
                  <a:cubicBezTo>
                    <a:pt x="422" y="672314"/>
                    <a:pt x="843" y="336157"/>
                    <a:pt x="1265" y="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 useBgFill="1">
          <p:nvSpPr>
            <p:cNvPr id="251" name="Freeform: Shape 819">
              <a:extLst>
                <a:ext uri="{FF2B5EF4-FFF2-40B4-BE49-F238E27FC236}">
                  <a16:creationId xmlns:a16="http://schemas.microsoft.com/office/drawing/2014/main" id="{9D192C22-CD62-4151-88A6-8BD5EA4CFF7C}"/>
                </a:ext>
              </a:extLst>
            </p:cNvPr>
            <p:cNvSpPr/>
            <p:nvPr/>
          </p:nvSpPr>
          <p:spPr bwMode="auto">
            <a:xfrm>
              <a:off x="5279190" y="5401430"/>
              <a:ext cx="488333" cy="201776"/>
            </a:xfrm>
            <a:custGeom>
              <a:avLst/>
              <a:gdLst>
                <a:gd name="connsiteX0" fmla="*/ 246301 w 492602"/>
                <a:gd name="connsiteY0" fmla="*/ 0 h 201776"/>
                <a:gd name="connsiteX1" fmla="*/ 492602 w 492602"/>
                <a:gd name="connsiteY1" fmla="*/ 100888 h 201776"/>
                <a:gd name="connsiteX2" fmla="*/ 246301 w 492602"/>
                <a:gd name="connsiteY2" fmla="*/ 201776 h 201776"/>
                <a:gd name="connsiteX3" fmla="*/ 0 w 492602"/>
                <a:gd name="connsiteY3" fmla="*/ 100888 h 201776"/>
                <a:gd name="connsiteX4" fmla="*/ 246301 w 492602"/>
                <a:gd name="connsiteY4" fmla="*/ 0 h 20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602" h="201776">
                  <a:moveTo>
                    <a:pt x="246301" y="0"/>
                  </a:moveTo>
                  <a:cubicBezTo>
                    <a:pt x="382329" y="0"/>
                    <a:pt x="492602" y="45169"/>
                    <a:pt x="492602" y="100888"/>
                  </a:cubicBezTo>
                  <a:cubicBezTo>
                    <a:pt x="492602" y="156607"/>
                    <a:pt x="382329" y="201776"/>
                    <a:pt x="246301" y="201776"/>
                  </a:cubicBezTo>
                  <a:cubicBezTo>
                    <a:pt x="110273" y="201776"/>
                    <a:pt x="0" y="156607"/>
                    <a:pt x="0" y="100888"/>
                  </a:cubicBezTo>
                  <a:cubicBezTo>
                    <a:pt x="0" y="45169"/>
                    <a:pt x="110273" y="0"/>
                    <a:pt x="246301" y="0"/>
                  </a:cubicBezTo>
                  <a:close/>
                </a:path>
              </a:pathLst>
            </a:custGeom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52" name="Shape 101">
            <a:extLst>
              <a:ext uri="{FF2B5EF4-FFF2-40B4-BE49-F238E27FC236}">
                <a16:creationId xmlns:a16="http://schemas.microsoft.com/office/drawing/2014/main" id="{00969007-6EEB-41AD-B0B6-5182BABE8637}"/>
              </a:ext>
            </a:extLst>
          </p:cNvPr>
          <p:cNvSpPr txBox="1"/>
          <p:nvPr/>
        </p:nvSpPr>
        <p:spPr>
          <a:xfrm>
            <a:off x="10615278" y="4609681"/>
            <a:ext cx="1516015" cy="415458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  <a:sym typeface="Calibri"/>
              </a:rPr>
              <a:t>Analytical dashboards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  <a:sym typeface="Calibri"/>
              </a:rPr>
              <a:t>(PowerBI)</a:t>
            </a:r>
          </a:p>
        </p:txBody>
      </p:sp>
      <p:grpSp>
        <p:nvGrpSpPr>
          <p:cNvPr id="253" name="Group 252">
            <a:extLst>
              <a:ext uri="{FF2B5EF4-FFF2-40B4-BE49-F238E27FC236}">
                <a16:creationId xmlns:a16="http://schemas.microsoft.com/office/drawing/2014/main" id="{B4BD7B08-E7F5-4C64-B2ED-E8BBFE0E7771}"/>
              </a:ext>
            </a:extLst>
          </p:cNvPr>
          <p:cNvGrpSpPr/>
          <p:nvPr/>
        </p:nvGrpSpPr>
        <p:grpSpPr>
          <a:xfrm>
            <a:off x="10934103" y="3893342"/>
            <a:ext cx="669375" cy="526560"/>
            <a:chOff x="10725498" y="5087603"/>
            <a:chExt cx="498940" cy="424437"/>
          </a:xfrm>
        </p:grpSpPr>
        <p:sp>
          <p:nvSpPr>
            <p:cNvPr id="254" name="graph_2">
              <a:extLst>
                <a:ext uri="{FF2B5EF4-FFF2-40B4-BE49-F238E27FC236}">
                  <a16:creationId xmlns:a16="http://schemas.microsoft.com/office/drawing/2014/main" id="{84E0E811-BEC5-4CFC-902D-7932316618A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829194" y="5267741"/>
              <a:ext cx="291548" cy="170948"/>
            </a:xfrm>
            <a:custGeom>
              <a:avLst/>
              <a:gdLst>
                <a:gd name="T0" fmla="*/ 195 w 249"/>
                <a:gd name="T1" fmla="*/ 0 h 146"/>
                <a:gd name="T2" fmla="*/ 244 w 249"/>
                <a:gd name="T3" fmla="*/ 0 h 146"/>
                <a:gd name="T4" fmla="*/ 244 w 249"/>
                <a:gd name="T5" fmla="*/ 50 h 146"/>
                <a:gd name="T6" fmla="*/ 244 w 249"/>
                <a:gd name="T7" fmla="*/ 0 h 146"/>
                <a:gd name="T8" fmla="*/ 141 w 249"/>
                <a:gd name="T9" fmla="*/ 106 h 146"/>
                <a:gd name="T10" fmla="*/ 109 w 249"/>
                <a:gd name="T11" fmla="*/ 106 h 146"/>
                <a:gd name="T12" fmla="*/ 0 w 249"/>
                <a:gd name="T13" fmla="*/ 146 h 146"/>
                <a:gd name="T14" fmla="*/ 249 w 249"/>
                <a:gd name="T15" fmla="*/ 146 h 146"/>
                <a:gd name="T16" fmla="*/ 88 w 249"/>
                <a:gd name="T17" fmla="*/ 106 h 146"/>
                <a:gd name="T18" fmla="*/ 54 w 249"/>
                <a:gd name="T19" fmla="*/ 106 h 146"/>
                <a:gd name="T20" fmla="*/ 35 w 249"/>
                <a:gd name="T21" fmla="*/ 106 h 146"/>
                <a:gd name="T22" fmla="*/ 1 w 249"/>
                <a:gd name="T23" fmla="*/ 10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9" h="146">
                  <a:moveTo>
                    <a:pt x="195" y="0"/>
                  </a:moveTo>
                  <a:lnTo>
                    <a:pt x="244" y="0"/>
                  </a:lnTo>
                  <a:lnTo>
                    <a:pt x="244" y="50"/>
                  </a:lnTo>
                  <a:moveTo>
                    <a:pt x="244" y="0"/>
                  </a:moveTo>
                  <a:lnTo>
                    <a:pt x="141" y="106"/>
                  </a:lnTo>
                  <a:lnTo>
                    <a:pt x="109" y="106"/>
                  </a:lnTo>
                  <a:moveTo>
                    <a:pt x="0" y="146"/>
                  </a:moveTo>
                  <a:lnTo>
                    <a:pt x="249" y="146"/>
                  </a:lnTo>
                  <a:moveTo>
                    <a:pt x="88" y="106"/>
                  </a:moveTo>
                  <a:lnTo>
                    <a:pt x="54" y="106"/>
                  </a:lnTo>
                  <a:moveTo>
                    <a:pt x="35" y="106"/>
                  </a:moveTo>
                  <a:lnTo>
                    <a:pt x="1" y="106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255" name="Group 254">
              <a:extLst>
                <a:ext uri="{FF2B5EF4-FFF2-40B4-BE49-F238E27FC236}">
                  <a16:creationId xmlns:a16="http://schemas.microsoft.com/office/drawing/2014/main" id="{4A64007F-6686-4886-AB09-84F350169B3A}"/>
                </a:ext>
              </a:extLst>
            </p:cNvPr>
            <p:cNvGrpSpPr/>
            <p:nvPr/>
          </p:nvGrpSpPr>
          <p:grpSpPr>
            <a:xfrm>
              <a:off x="10725498" y="5087603"/>
              <a:ext cx="498940" cy="424437"/>
              <a:chOff x="10725498" y="5087603"/>
              <a:chExt cx="498940" cy="424437"/>
            </a:xfrm>
          </p:grpSpPr>
          <p:sp>
            <p:nvSpPr>
              <p:cNvPr id="256" name="Rectangle 9">
                <a:extLst>
                  <a:ext uri="{FF2B5EF4-FFF2-40B4-BE49-F238E27FC236}">
                    <a16:creationId xmlns:a16="http://schemas.microsoft.com/office/drawing/2014/main" id="{F749FC14-2B94-489C-8AD9-3A859E9083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25498" y="5087603"/>
                <a:ext cx="498940" cy="424437"/>
              </a:xfrm>
              <a:prstGeom prst="rect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7" name="Line 10">
                <a:extLst>
                  <a:ext uri="{FF2B5EF4-FFF2-40B4-BE49-F238E27FC236}">
                    <a16:creationId xmlns:a16="http://schemas.microsoft.com/office/drawing/2014/main" id="{7F10F438-3750-4D7C-A15E-FA496FD6D2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725498" y="5202743"/>
                <a:ext cx="498940" cy="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8" name="Oval 11">
                <a:extLst>
                  <a:ext uri="{FF2B5EF4-FFF2-40B4-BE49-F238E27FC236}">
                    <a16:creationId xmlns:a16="http://schemas.microsoft.com/office/drawing/2014/main" id="{B035D68F-9F4C-4D79-89C0-1D530996B4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14477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9" name="Oval 12">
                <a:extLst>
                  <a:ext uri="{FF2B5EF4-FFF2-40B4-BE49-F238E27FC236}">
                    <a16:creationId xmlns:a16="http://schemas.microsoft.com/office/drawing/2014/main" id="{39F0762C-2E98-4F4C-8DEC-7DE979521C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70918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0" name="Oval 13">
                <a:extLst>
                  <a:ext uri="{FF2B5EF4-FFF2-40B4-BE49-F238E27FC236}">
                    <a16:creationId xmlns:a16="http://schemas.microsoft.com/office/drawing/2014/main" id="{3BDEEDB8-9AE7-41A5-A7F4-F640D17F3C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129617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61" name="Group 260">
            <a:extLst>
              <a:ext uri="{FF2B5EF4-FFF2-40B4-BE49-F238E27FC236}">
                <a16:creationId xmlns:a16="http://schemas.microsoft.com/office/drawing/2014/main" id="{71FC833C-9CE0-4003-B47E-0058F8949D01}"/>
              </a:ext>
            </a:extLst>
          </p:cNvPr>
          <p:cNvGrpSpPr/>
          <p:nvPr/>
        </p:nvGrpSpPr>
        <p:grpSpPr>
          <a:xfrm>
            <a:off x="6919439" y="2598745"/>
            <a:ext cx="595274" cy="485668"/>
            <a:chOff x="5818113" y="2550840"/>
            <a:chExt cx="529278" cy="431824"/>
          </a:xfrm>
        </p:grpSpPr>
        <p:sp>
          <p:nvSpPr>
            <p:cNvPr id="262" name="Diamond 261">
              <a:extLst>
                <a:ext uri="{FF2B5EF4-FFF2-40B4-BE49-F238E27FC236}">
                  <a16:creationId xmlns:a16="http://schemas.microsoft.com/office/drawing/2014/main" id="{332B31D9-F18D-415D-B91F-BD681AB9839D}"/>
                </a:ext>
              </a:extLst>
            </p:cNvPr>
            <p:cNvSpPr/>
            <p:nvPr/>
          </p:nvSpPr>
          <p:spPr bwMode="auto">
            <a:xfrm>
              <a:off x="5818113" y="2550840"/>
              <a:ext cx="529278" cy="274527"/>
            </a:xfrm>
            <a:prstGeom prst="diamond">
              <a:avLst/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58B88DB3-8EF6-4468-91ED-24663221ECB0}"/>
                </a:ext>
              </a:extLst>
            </p:cNvPr>
            <p:cNvSpPr/>
            <p:nvPr/>
          </p:nvSpPr>
          <p:spPr bwMode="auto">
            <a:xfrm>
              <a:off x="5818113" y="2797200"/>
              <a:ext cx="529278" cy="185464"/>
            </a:xfrm>
            <a:custGeom>
              <a:avLst/>
              <a:gdLst>
                <a:gd name="connsiteX0" fmla="*/ 92930 w 529278"/>
                <a:gd name="connsiteY0" fmla="*/ 0 h 185464"/>
                <a:gd name="connsiteX1" fmla="*/ 264639 w 529278"/>
                <a:gd name="connsiteY1" fmla="*/ 89062 h 185464"/>
                <a:gd name="connsiteX2" fmla="*/ 436348 w 529278"/>
                <a:gd name="connsiteY2" fmla="*/ 0 h 185464"/>
                <a:gd name="connsiteX3" fmla="*/ 529278 w 529278"/>
                <a:gd name="connsiteY3" fmla="*/ 48201 h 185464"/>
                <a:gd name="connsiteX4" fmla="*/ 264639 w 529278"/>
                <a:gd name="connsiteY4" fmla="*/ 185464 h 185464"/>
                <a:gd name="connsiteX5" fmla="*/ 0 w 529278"/>
                <a:gd name="connsiteY5" fmla="*/ 48201 h 185464"/>
                <a:gd name="connsiteX6" fmla="*/ 92930 w 529278"/>
                <a:gd name="connsiteY6" fmla="*/ 0 h 185464"/>
                <a:gd name="connsiteX0" fmla="*/ 264639 w 529278"/>
                <a:gd name="connsiteY0" fmla="*/ 89062 h 185464"/>
                <a:gd name="connsiteX1" fmla="*/ 436348 w 529278"/>
                <a:gd name="connsiteY1" fmla="*/ 0 h 185464"/>
                <a:gd name="connsiteX2" fmla="*/ 529278 w 529278"/>
                <a:gd name="connsiteY2" fmla="*/ 48201 h 185464"/>
                <a:gd name="connsiteX3" fmla="*/ 264639 w 529278"/>
                <a:gd name="connsiteY3" fmla="*/ 185464 h 185464"/>
                <a:gd name="connsiteX4" fmla="*/ 0 w 529278"/>
                <a:gd name="connsiteY4" fmla="*/ 48201 h 185464"/>
                <a:gd name="connsiteX5" fmla="*/ 92930 w 529278"/>
                <a:gd name="connsiteY5" fmla="*/ 0 h 185464"/>
                <a:gd name="connsiteX6" fmla="*/ 356079 w 529278"/>
                <a:gd name="connsiteY6" fmla="*/ 180502 h 185464"/>
                <a:gd name="connsiteX0" fmla="*/ 264639 w 529278"/>
                <a:gd name="connsiteY0" fmla="*/ 89062 h 185464"/>
                <a:gd name="connsiteX1" fmla="*/ 436348 w 529278"/>
                <a:gd name="connsiteY1" fmla="*/ 0 h 185464"/>
                <a:gd name="connsiteX2" fmla="*/ 529278 w 529278"/>
                <a:gd name="connsiteY2" fmla="*/ 48201 h 185464"/>
                <a:gd name="connsiteX3" fmla="*/ 264639 w 529278"/>
                <a:gd name="connsiteY3" fmla="*/ 185464 h 185464"/>
                <a:gd name="connsiteX4" fmla="*/ 0 w 529278"/>
                <a:gd name="connsiteY4" fmla="*/ 48201 h 185464"/>
                <a:gd name="connsiteX5" fmla="*/ 92930 w 529278"/>
                <a:gd name="connsiteY5" fmla="*/ 0 h 185464"/>
                <a:gd name="connsiteX0" fmla="*/ 436348 w 529278"/>
                <a:gd name="connsiteY0" fmla="*/ 0 h 185464"/>
                <a:gd name="connsiteX1" fmla="*/ 529278 w 529278"/>
                <a:gd name="connsiteY1" fmla="*/ 48201 h 185464"/>
                <a:gd name="connsiteX2" fmla="*/ 264639 w 529278"/>
                <a:gd name="connsiteY2" fmla="*/ 185464 h 185464"/>
                <a:gd name="connsiteX3" fmla="*/ 0 w 529278"/>
                <a:gd name="connsiteY3" fmla="*/ 48201 h 185464"/>
                <a:gd name="connsiteX4" fmla="*/ 92930 w 529278"/>
                <a:gd name="connsiteY4" fmla="*/ 0 h 1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9278" h="185464">
                  <a:moveTo>
                    <a:pt x="436348" y="0"/>
                  </a:moveTo>
                  <a:lnTo>
                    <a:pt x="529278" y="48201"/>
                  </a:lnTo>
                  <a:lnTo>
                    <a:pt x="264639" y="185464"/>
                  </a:lnTo>
                  <a:lnTo>
                    <a:pt x="0" y="48201"/>
                  </a:lnTo>
                  <a:lnTo>
                    <a:pt x="92930" y="0"/>
                  </a:ln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64" name="Rectangle 263">
            <a:extLst>
              <a:ext uri="{FF2B5EF4-FFF2-40B4-BE49-F238E27FC236}">
                <a16:creationId xmlns:a16="http://schemas.microsoft.com/office/drawing/2014/main" id="{05B94146-6E2B-498D-A97A-9A15C27088E8}"/>
              </a:ext>
            </a:extLst>
          </p:cNvPr>
          <p:cNvSpPr/>
          <p:nvPr/>
        </p:nvSpPr>
        <p:spPr bwMode="auto">
          <a:xfrm>
            <a:off x="1936542" y="1546386"/>
            <a:ext cx="8432552" cy="4263966"/>
          </a:xfrm>
          <a:prstGeom prst="rect">
            <a:avLst/>
          </a:prstGeom>
          <a:noFill/>
          <a:ln w="127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5DB140A0-9E6A-442E-85A3-EAD45F17C91A}"/>
              </a:ext>
            </a:extLst>
          </p:cNvPr>
          <p:cNvSpPr/>
          <p:nvPr/>
        </p:nvSpPr>
        <p:spPr bwMode="auto">
          <a:xfrm>
            <a:off x="8616021" y="1759613"/>
            <a:ext cx="1432897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odel &amp; Serve</a:t>
            </a:r>
          </a:p>
        </p:txBody>
      </p:sp>
      <p:sp>
        <p:nvSpPr>
          <p:cNvPr id="266" name="Rectangle 265">
            <a:extLst>
              <a:ext uri="{FF2B5EF4-FFF2-40B4-BE49-F238E27FC236}">
                <a16:creationId xmlns:a16="http://schemas.microsoft.com/office/drawing/2014/main" id="{32329837-BBF4-4121-B786-D896A0A66A20}"/>
              </a:ext>
            </a:extLst>
          </p:cNvPr>
          <p:cNvSpPr/>
          <p:nvPr/>
        </p:nvSpPr>
        <p:spPr bwMode="auto">
          <a:xfrm>
            <a:off x="6608998" y="1759613"/>
            <a:ext cx="1377453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rep &amp; Train</a:t>
            </a:r>
          </a:p>
        </p:txBody>
      </p:sp>
      <p:sp>
        <p:nvSpPr>
          <p:cNvPr id="267" name="Rectangle 266">
            <a:extLst>
              <a:ext uri="{FF2B5EF4-FFF2-40B4-BE49-F238E27FC236}">
                <a16:creationId xmlns:a16="http://schemas.microsoft.com/office/drawing/2014/main" id="{BA11A9EF-93FF-47D4-BB2D-C2F1C49050C4}"/>
              </a:ext>
            </a:extLst>
          </p:cNvPr>
          <p:cNvSpPr/>
          <p:nvPr/>
        </p:nvSpPr>
        <p:spPr bwMode="auto">
          <a:xfrm>
            <a:off x="4564817" y="1759613"/>
            <a:ext cx="1392554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52259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tore</a:t>
            </a:r>
          </a:p>
        </p:txBody>
      </p:sp>
      <p:sp>
        <p:nvSpPr>
          <p:cNvPr id="268" name="Rectangle 267">
            <a:extLst>
              <a:ext uri="{FF2B5EF4-FFF2-40B4-BE49-F238E27FC236}">
                <a16:creationId xmlns:a16="http://schemas.microsoft.com/office/drawing/2014/main" id="{A7F82475-21A5-470C-98C2-141C176396E3}"/>
              </a:ext>
            </a:extLst>
          </p:cNvPr>
          <p:cNvSpPr/>
          <p:nvPr/>
        </p:nvSpPr>
        <p:spPr bwMode="auto">
          <a:xfrm>
            <a:off x="2609300" y="1759613"/>
            <a:ext cx="1384695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gest</a:t>
            </a:r>
          </a:p>
        </p:txBody>
      </p:sp>
      <p:cxnSp>
        <p:nvCxnSpPr>
          <p:cNvPr id="269" name="Connector: Elbow 268">
            <a:extLst>
              <a:ext uri="{FF2B5EF4-FFF2-40B4-BE49-F238E27FC236}">
                <a16:creationId xmlns:a16="http://schemas.microsoft.com/office/drawing/2014/main" id="{FA5B3583-4869-485D-A81D-DBBB4A2AA081}"/>
              </a:ext>
            </a:extLst>
          </p:cNvPr>
          <p:cNvCxnSpPr>
            <a:cxnSpLocks/>
            <a:stCxn id="186" idx="2"/>
          </p:cNvCxnSpPr>
          <p:nvPr/>
        </p:nvCxnSpPr>
        <p:spPr>
          <a:xfrm rot="16200000" flipH="1">
            <a:off x="7519732" y="3229948"/>
            <a:ext cx="988632" cy="1593944"/>
          </a:xfrm>
          <a:prstGeom prst="bentConnector2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tangle 269">
            <a:extLst>
              <a:ext uri="{FF2B5EF4-FFF2-40B4-BE49-F238E27FC236}">
                <a16:creationId xmlns:a16="http://schemas.microsoft.com/office/drawing/2014/main" id="{BB50F891-5682-453C-9AB1-790914252364}"/>
              </a:ext>
            </a:extLst>
          </p:cNvPr>
          <p:cNvSpPr/>
          <p:nvPr/>
        </p:nvSpPr>
        <p:spPr bwMode="auto">
          <a:xfrm>
            <a:off x="10420291" y="1759613"/>
            <a:ext cx="1432897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telligence</a:t>
            </a:r>
          </a:p>
        </p:txBody>
      </p:sp>
      <p:pic>
        <p:nvPicPr>
          <p:cNvPr id="271" name="Picture 270">
            <a:extLst>
              <a:ext uri="{FF2B5EF4-FFF2-40B4-BE49-F238E27FC236}">
                <a16:creationId xmlns:a16="http://schemas.microsoft.com/office/drawing/2014/main" id="{6935DE22-29D1-410F-8A14-1920A525DC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177608" y="3511629"/>
            <a:ext cx="695422" cy="528711"/>
          </a:xfrm>
          <a:prstGeom prst="rect">
            <a:avLst/>
          </a:prstGeom>
        </p:spPr>
      </p:pic>
      <p:sp>
        <p:nvSpPr>
          <p:cNvPr id="272" name="Rectangle 271">
            <a:extLst>
              <a:ext uri="{FF2B5EF4-FFF2-40B4-BE49-F238E27FC236}">
                <a16:creationId xmlns:a16="http://schemas.microsoft.com/office/drawing/2014/main" id="{DE3AD066-FA0E-45A5-8D6C-0270D1F46D1B}"/>
              </a:ext>
            </a:extLst>
          </p:cNvPr>
          <p:cNvSpPr/>
          <p:nvPr/>
        </p:nvSpPr>
        <p:spPr>
          <a:xfrm>
            <a:off x="8459952" y="4069120"/>
            <a:ext cx="1929128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Analysis Services</a:t>
            </a:r>
          </a:p>
        </p:txBody>
      </p:sp>
      <p:pic>
        <p:nvPicPr>
          <p:cNvPr id="273" name="Picture 272">
            <a:extLst>
              <a:ext uri="{FF2B5EF4-FFF2-40B4-BE49-F238E27FC236}">
                <a16:creationId xmlns:a16="http://schemas.microsoft.com/office/drawing/2014/main" id="{F8D47981-55B9-428B-BECC-8B89E7893E4F}"/>
              </a:ext>
            </a:extLst>
          </p:cNvPr>
          <p:cNvPicPr>
            <a:picLocks noChangeAspect="1"/>
          </p:cNvPicPr>
          <p:nvPr/>
        </p:nvPicPr>
        <p:blipFill>
          <a:blip r:embed="rId5">
            <a:biLevel thresh="50000"/>
          </a:blip>
          <a:stretch>
            <a:fillRect/>
          </a:stretch>
        </p:blipFill>
        <p:spPr>
          <a:xfrm>
            <a:off x="291567" y="3130285"/>
            <a:ext cx="674300" cy="835851"/>
          </a:xfrm>
          <a:prstGeom prst="rect">
            <a:avLst/>
          </a:prstGeom>
        </p:spPr>
      </p:pic>
      <p:sp>
        <p:nvSpPr>
          <p:cNvPr id="274" name="TextBox 273">
            <a:extLst>
              <a:ext uri="{FF2B5EF4-FFF2-40B4-BE49-F238E27FC236}">
                <a16:creationId xmlns:a16="http://schemas.microsoft.com/office/drawing/2014/main" id="{B155FF6A-CE7F-4249-BED7-8E8718FA2790}"/>
              </a:ext>
            </a:extLst>
          </p:cNvPr>
          <p:cNvSpPr txBox="1"/>
          <p:nvPr/>
        </p:nvSpPr>
        <p:spPr>
          <a:xfrm>
            <a:off x="186918" y="4020914"/>
            <a:ext cx="1632135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defTabSz="93259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kern="0" cap="none" spc="0" normalizeH="0" baseline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On Prem, Cloud 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pps &amp; Data</a:t>
            </a:r>
          </a:p>
        </p:txBody>
      </p:sp>
      <p:sp>
        <p:nvSpPr>
          <p:cNvPr id="275" name="Freeform 5">
            <a:extLst>
              <a:ext uri="{FF2B5EF4-FFF2-40B4-BE49-F238E27FC236}">
                <a16:creationId xmlns:a16="http://schemas.microsoft.com/office/drawing/2014/main" id="{DC3BD6CD-E7C0-434E-8210-9AC897446196}"/>
              </a:ext>
            </a:extLst>
          </p:cNvPr>
          <p:cNvSpPr>
            <a:spLocks noChangeAspect="1"/>
          </p:cNvSpPr>
          <p:nvPr/>
        </p:nvSpPr>
        <p:spPr bwMode="black">
          <a:xfrm>
            <a:off x="1051049" y="3582349"/>
            <a:ext cx="600583" cy="330255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121870" tIns="60935" rIns="121870" bIns="6093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2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76" name="Straight Arrow Connector 275">
            <a:extLst>
              <a:ext uri="{FF2B5EF4-FFF2-40B4-BE49-F238E27FC236}">
                <a16:creationId xmlns:a16="http://schemas.microsoft.com/office/drawing/2014/main" id="{82D339C9-9CF3-4CA0-A6D1-9C78501AE14A}"/>
              </a:ext>
            </a:extLst>
          </p:cNvPr>
          <p:cNvCxnSpPr>
            <a:cxnSpLocks/>
          </p:cNvCxnSpPr>
          <p:nvPr/>
        </p:nvCxnSpPr>
        <p:spPr>
          <a:xfrm>
            <a:off x="9923284" y="4026920"/>
            <a:ext cx="717007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1618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Arrow: Left-Right 156">
            <a:extLst>
              <a:ext uri="{FF2B5EF4-FFF2-40B4-BE49-F238E27FC236}">
                <a16:creationId xmlns:a16="http://schemas.microsoft.com/office/drawing/2014/main" id="{0F3FB124-4C3B-4C58-87FC-C9D777D71D3F}"/>
              </a:ext>
            </a:extLst>
          </p:cNvPr>
          <p:cNvSpPr/>
          <p:nvPr/>
        </p:nvSpPr>
        <p:spPr>
          <a:xfrm>
            <a:off x="235594" y="5779071"/>
            <a:ext cx="11180492" cy="888992"/>
          </a:xfrm>
          <a:prstGeom prst="leftRightArrow">
            <a:avLst/>
          </a:prstGeom>
          <a:solidFill>
            <a:srgbClr val="0078D7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093">
              <a:defRPr/>
            </a:pPr>
            <a:endParaRPr lang="en-US" sz="1764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83E0CDEC-3FF4-4C6D-A38F-41B2F9DFD677}"/>
              </a:ext>
            </a:extLst>
          </p:cNvPr>
          <p:cNvSpPr txBox="1"/>
          <p:nvPr/>
        </p:nvSpPr>
        <p:spPr>
          <a:xfrm>
            <a:off x="1820167" y="5910079"/>
            <a:ext cx="8790108" cy="502242"/>
          </a:xfrm>
          <a:prstGeom prst="rect">
            <a:avLst/>
          </a:prstGeom>
          <a:noFill/>
        </p:spPr>
        <p:txBody>
          <a:bodyPr wrap="square" lIns="274210" tIns="182806" rIns="182806" rtlCol="0">
            <a:spAutoFit/>
          </a:bodyPr>
          <a:lstStyle/>
          <a:p>
            <a:pPr defTabSz="914093">
              <a:defRPr/>
            </a:pPr>
            <a:r>
              <a:rPr lang="en-US" sz="1764" b="1">
                <a:solidFill>
                  <a:schemeClr val="bg1"/>
                </a:solidFill>
                <a:latin typeface="Segoe UI"/>
              </a:rPr>
              <a:t>Azure Data Factory orchestrates and operationalizes data pipeline workflow</a:t>
            </a:r>
          </a:p>
        </p:txBody>
      </p:sp>
      <p:sp>
        <p:nvSpPr>
          <p:cNvPr id="159" name="Title 1">
            <a:extLst>
              <a:ext uri="{FF2B5EF4-FFF2-40B4-BE49-F238E27FC236}">
                <a16:creationId xmlns:a16="http://schemas.microsoft.com/office/drawing/2014/main" id="{2D38ADE1-09D7-46ED-B830-3122B0EDF1CA}"/>
              </a:ext>
            </a:extLst>
          </p:cNvPr>
          <p:cNvSpPr txBox="1">
            <a:spLocks/>
          </p:cNvSpPr>
          <p:nvPr/>
        </p:nvSpPr>
        <p:spPr>
          <a:xfrm>
            <a:off x="196561" y="155051"/>
            <a:ext cx="10511370" cy="115064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rmAutofit/>
          </a:bodyPr>
          <a:lstStyle>
            <a:lvl1pPr algn="l" defTabSz="91391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3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defRPr/>
            </a:pPr>
            <a:r>
              <a:rPr lang="en-US" sz="3920" b="1">
                <a:solidFill>
                  <a:srgbClr val="0078D7"/>
                </a:solidFill>
                <a:latin typeface="Segoe UI Light (Headings)"/>
              </a:rPr>
              <a:t>Modern DW for SaaS Apps</a:t>
            </a:r>
          </a:p>
        </p:txBody>
      </p:sp>
      <p:sp>
        <p:nvSpPr>
          <p:cNvPr id="5" name="Right Bracket 4">
            <a:extLst>
              <a:ext uri="{FF2B5EF4-FFF2-40B4-BE49-F238E27FC236}">
                <a16:creationId xmlns:a16="http://schemas.microsoft.com/office/drawing/2014/main" id="{AAB7AB2E-9D5C-4788-B2F4-EE700A0388EF}"/>
              </a:ext>
            </a:extLst>
          </p:cNvPr>
          <p:cNvSpPr/>
          <p:nvPr/>
        </p:nvSpPr>
        <p:spPr>
          <a:xfrm>
            <a:off x="2215617" y="2358243"/>
            <a:ext cx="100766" cy="2681121"/>
          </a:xfrm>
          <a:prstGeom prst="rightBracket">
            <a:avLst>
              <a:gd name="adj" fmla="val 0"/>
            </a:avLst>
          </a:prstGeom>
          <a:solidFill>
            <a:schemeClr val="bg1"/>
          </a:solidFill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B791EFB-96A9-4E66-ACEC-C194A559409A}"/>
              </a:ext>
            </a:extLst>
          </p:cNvPr>
          <p:cNvSpPr txBox="1"/>
          <p:nvPr/>
        </p:nvSpPr>
        <p:spPr>
          <a:xfrm>
            <a:off x="311881" y="5085539"/>
            <a:ext cx="1632135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defTabSz="93259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kern="0" cap="none" spc="0" normalizeH="0" baseline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Business / custom apps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Structured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8449F09-C938-4C36-91F1-0E86A9B3417A}"/>
              </a:ext>
            </a:extLst>
          </p:cNvPr>
          <p:cNvSpPr txBox="1"/>
          <p:nvPr/>
        </p:nvSpPr>
        <p:spPr>
          <a:xfrm>
            <a:off x="308035" y="2531672"/>
            <a:ext cx="1475072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defTabSz="93259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kern="0" cap="none" spc="0" normalizeH="0" baseline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Logs, files and media</a:t>
            </a:r>
            <a:b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unstructured)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424C9B85-10B5-4EAF-8EAB-5F4CEB20D66E}"/>
              </a:ext>
            </a:extLst>
          </p:cNvPr>
          <p:cNvCxnSpPr>
            <a:cxnSpLocks/>
          </p:cNvCxnSpPr>
          <p:nvPr/>
        </p:nvCxnSpPr>
        <p:spPr>
          <a:xfrm flipV="1">
            <a:off x="5396665" y="2825545"/>
            <a:ext cx="1369832" cy="2498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2DB4AB5D-B77D-463B-8BE8-7367184C8FFC}"/>
              </a:ext>
            </a:extLst>
          </p:cNvPr>
          <p:cNvCxnSpPr>
            <a:cxnSpLocks/>
          </p:cNvCxnSpPr>
          <p:nvPr/>
        </p:nvCxnSpPr>
        <p:spPr>
          <a:xfrm>
            <a:off x="9922847" y="5387437"/>
            <a:ext cx="717007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1DCE89DA-0FB9-4094-AC69-A37A7F5B3240}"/>
              </a:ext>
            </a:extLst>
          </p:cNvPr>
          <p:cNvSpPr/>
          <p:nvPr/>
        </p:nvSpPr>
        <p:spPr>
          <a:xfrm>
            <a:off x="4250147" y="2993800"/>
            <a:ext cx="1392554" cy="57708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32597">
              <a:defRPr/>
            </a:pPr>
            <a:r>
              <a:rPr lang="en-US" sz="1050" kern="0" dirty="0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Data Lake Storage Gen2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6FE07D9-C13C-4DE2-8538-EF180B5821AF}"/>
              </a:ext>
            </a:extLst>
          </p:cNvPr>
          <p:cNvSpPr/>
          <p:nvPr/>
        </p:nvSpPr>
        <p:spPr>
          <a:xfrm>
            <a:off x="2672827" y="2993800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factory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34252A1-28FB-4074-B493-D608E904E0A0}"/>
              </a:ext>
            </a:extLst>
          </p:cNvPr>
          <p:cNvSpPr/>
          <p:nvPr/>
        </p:nvSpPr>
        <p:spPr>
          <a:xfrm>
            <a:off x="2667836" y="4965229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factory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4D9C763-FE96-4705-BBA1-754982D1464A}"/>
              </a:ext>
            </a:extLst>
          </p:cNvPr>
          <p:cNvSpPr/>
          <p:nvPr/>
        </p:nvSpPr>
        <p:spPr>
          <a:xfrm>
            <a:off x="6502777" y="2993800"/>
            <a:ext cx="1428598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Databricks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Spark)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AABF78C-A11E-4DD9-9A98-C1CD78CA4978}"/>
              </a:ext>
            </a:extLst>
          </p:cNvPr>
          <p:cNvGrpSpPr/>
          <p:nvPr/>
        </p:nvGrpSpPr>
        <p:grpSpPr>
          <a:xfrm>
            <a:off x="574936" y="4586070"/>
            <a:ext cx="1064771" cy="406286"/>
            <a:chOff x="579957" y="1614888"/>
            <a:chExt cx="1064771" cy="40628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14A75FA-EEAE-4FF6-9C7D-AB9303B3999F}"/>
                </a:ext>
              </a:extLst>
            </p:cNvPr>
            <p:cNvGrpSpPr/>
            <p:nvPr/>
          </p:nvGrpSpPr>
          <p:grpSpPr>
            <a:xfrm>
              <a:off x="1174991" y="1632049"/>
              <a:ext cx="469737" cy="385154"/>
              <a:chOff x="1778647" y="1301093"/>
              <a:chExt cx="307813" cy="252387"/>
            </a:xfrm>
            <a:noFill/>
          </p:grpSpPr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40FCCE03-ABBA-40E0-A16C-7477921A64D7}"/>
                  </a:ext>
                </a:extLst>
              </p:cNvPr>
              <p:cNvGrpSpPr/>
              <p:nvPr/>
            </p:nvGrpSpPr>
            <p:grpSpPr>
              <a:xfrm>
                <a:off x="1778647" y="1301093"/>
                <a:ext cx="307813" cy="252387"/>
                <a:chOff x="2107086" y="1452805"/>
                <a:chExt cx="307813" cy="252387"/>
              </a:xfrm>
              <a:grpFill/>
            </p:grpSpPr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9269CBA2-A58E-43AB-85D5-FB4106817065}"/>
                    </a:ext>
                  </a:extLst>
                </p:cNvPr>
                <p:cNvSpPr/>
                <p:nvPr/>
              </p:nvSpPr>
              <p:spPr bwMode="auto">
                <a:xfrm>
                  <a:off x="2107086" y="1596776"/>
                  <a:ext cx="108416" cy="108416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35F2CEDB-321B-4F3D-BE39-3A5BF4EDF03B}"/>
                    </a:ext>
                  </a:extLst>
                </p:cNvPr>
                <p:cNvSpPr/>
                <p:nvPr/>
              </p:nvSpPr>
              <p:spPr bwMode="auto">
                <a:xfrm>
                  <a:off x="2252041" y="1452805"/>
                  <a:ext cx="162858" cy="162858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942AC1CC-2E27-4FA8-8711-0DE23AEB4620}"/>
                    </a:ext>
                  </a:extLst>
                </p:cNvPr>
                <p:cNvSpPr/>
                <p:nvPr/>
              </p:nvSpPr>
              <p:spPr bwMode="auto">
                <a:xfrm>
                  <a:off x="2107086" y="1453330"/>
                  <a:ext cx="108416" cy="108416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Rectangle 27">
                  <a:extLst>
                    <a:ext uri="{FF2B5EF4-FFF2-40B4-BE49-F238E27FC236}">
                      <a16:creationId xmlns:a16="http://schemas.microsoft.com/office/drawing/2014/main" id="{5279ADB5-CB8F-4BEE-BEC8-BC24BE048D7A}"/>
                    </a:ext>
                  </a:extLst>
                </p:cNvPr>
                <p:cNvSpPr/>
                <p:nvPr/>
              </p:nvSpPr>
              <p:spPr bwMode="auto">
                <a:xfrm>
                  <a:off x="2253489" y="1652588"/>
                  <a:ext cx="159337" cy="51699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644D0E42-3542-444F-B3C3-3FA706B5E591}"/>
                  </a:ext>
                </a:extLst>
              </p:cNvPr>
              <p:cNvCxnSpPr/>
              <p:nvPr/>
            </p:nvCxnSpPr>
            <p:spPr>
              <a:xfrm>
                <a:off x="1979319" y="1500876"/>
                <a:ext cx="0" cy="51699"/>
              </a:xfrm>
              <a:prstGeom prst="line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BD88F1A4-F10F-4E58-B794-A23CA0729A0E}"/>
                  </a:ext>
                </a:extLst>
              </p:cNvPr>
              <p:cNvCxnSpPr/>
              <p:nvPr/>
            </p:nvCxnSpPr>
            <p:spPr>
              <a:xfrm>
                <a:off x="2031707" y="1500876"/>
                <a:ext cx="0" cy="51699"/>
              </a:xfrm>
              <a:prstGeom prst="line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</p:cxn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3B1927C-72EE-4C31-92FE-C4AB7B9BB94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9957" y="1614888"/>
              <a:ext cx="416196" cy="406286"/>
              <a:chOff x="1759" y="236"/>
              <a:chExt cx="252" cy="246"/>
            </a:xfrm>
            <a:noFill/>
          </p:grpSpPr>
          <p:sp>
            <p:nvSpPr>
              <p:cNvPr id="18" name="Freeform 106">
                <a:extLst>
                  <a:ext uri="{FF2B5EF4-FFF2-40B4-BE49-F238E27FC236}">
                    <a16:creationId xmlns:a16="http://schemas.microsoft.com/office/drawing/2014/main" id="{55D6D5DE-61D3-4102-8FD1-6750E45B4A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" y="236"/>
                <a:ext cx="252" cy="246"/>
              </a:xfrm>
              <a:custGeom>
                <a:avLst/>
                <a:gdLst>
                  <a:gd name="T0" fmla="*/ 0 w 252"/>
                  <a:gd name="T1" fmla="*/ 0 h 246"/>
                  <a:gd name="T2" fmla="*/ 0 w 252"/>
                  <a:gd name="T3" fmla="*/ 246 h 246"/>
                  <a:gd name="T4" fmla="*/ 252 w 252"/>
                  <a:gd name="T5" fmla="*/ 246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2" h="246">
                    <a:moveTo>
                      <a:pt x="0" y="0"/>
                    </a:moveTo>
                    <a:lnTo>
                      <a:pt x="0" y="246"/>
                    </a:lnTo>
                    <a:lnTo>
                      <a:pt x="252" y="246"/>
                    </a:lnTo>
                  </a:path>
                </a:pathLst>
              </a:cu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670BAFFE-8F68-44DB-B3CC-2646CCB23B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99" y="376"/>
                <a:ext cx="32" cy="106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BD445FC8-A5E9-444A-A18D-B23C1EE2D7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62" y="283"/>
                <a:ext cx="33" cy="199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74FFC060-796A-43DE-A859-427D3DBD9C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6" y="324"/>
                <a:ext cx="33" cy="158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8A03717A-8594-4713-8DE5-8B6A85722A08}"/>
              </a:ext>
            </a:extLst>
          </p:cNvPr>
          <p:cNvGrpSpPr/>
          <p:nvPr/>
        </p:nvGrpSpPr>
        <p:grpSpPr>
          <a:xfrm>
            <a:off x="511757" y="2106315"/>
            <a:ext cx="1167152" cy="348720"/>
            <a:chOff x="1555307" y="5853300"/>
            <a:chExt cx="1271350" cy="379852"/>
          </a:xfrm>
        </p:grpSpPr>
        <p:grpSp>
          <p:nvGrpSpPr>
            <p:cNvPr id="30" name="Group 4">
              <a:extLst>
                <a:ext uri="{FF2B5EF4-FFF2-40B4-BE49-F238E27FC236}">
                  <a16:creationId xmlns:a16="http://schemas.microsoft.com/office/drawing/2014/main" id="{9162E49A-1092-4577-99D2-5F5C04904C6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555307" y="5853300"/>
              <a:ext cx="259568" cy="379852"/>
              <a:chOff x="3526" y="3353"/>
              <a:chExt cx="164" cy="240"/>
            </a:xfrm>
          </p:grpSpPr>
          <p:sp>
            <p:nvSpPr>
              <p:cNvPr id="42" name="Freeform 5">
                <a:extLst>
                  <a:ext uri="{FF2B5EF4-FFF2-40B4-BE49-F238E27FC236}">
                    <a16:creationId xmlns:a16="http://schemas.microsoft.com/office/drawing/2014/main" id="{15EC4908-3D30-4842-99FD-48F7028C28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6" y="3353"/>
                <a:ext cx="164" cy="215"/>
              </a:xfrm>
              <a:custGeom>
                <a:avLst/>
                <a:gdLst>
                  <a:gd name="T0" fmla="*/ 204 w 226"/>
                  <a:gd name="T1" fmla="*/ 289 h 296"/>
                  <a:gd name="T2" fmla="*/ 226 w 226"/>
                  <a:gd name="T3" fmla="*/ 296 h 296"/>
                  <a:gd name="T4" fmla="*/ 226 w 226"/>
                  <a:gd name="T5" fmla="*/ 55 h 296"/>
                  <a:gd name="T6" fmla="*/ 39 w 226"/>
                  <a:gd name="T7" fmla="*/ 0 h 296"/>
                  <a:gd name="T8" fmla="*/ 0 w 226"/>
                  <a:gd name="T9" fmla="*/ 3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6" h="296">
                    <a:moveTo>
                      <a:pt x="204" y="289"/>
                    </a:moveTo>
                    <a:cubicBezTo>
                      <a:pt x="226" y="296"/>
                      <a:pt x="226" y="296"/>
                      <a:pt x="226" y="296"/>
                    </a:cubicBezTo>
                    <a:cubicBezTo>
                      <a:pt x="226" y="55"/>
                      <a:pt x="226" y="55"/>
                      <a:pt x="226" y="55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0"/>
                      <a:pt x="12" y="0"/>
                      <a:pt x="0" y="34"/>
                    </a:cubicBez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3" name="Freeform 6">
                <a:extLst>
                  <a:ext uri="{FF2B5EF4-FFF2-40B4-BE49-F238E27FC236}">
                    <a16:creationId xmlns:a16="http://schemas.microsoft.com/office/drawing/2014/main" id="{D5217147-88CF-468A-A16B-FFADD5F801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" y="3370"/>
                <a:ext cx="120" cy="211"/>
              </a:xfrm>
              <a:custGeom>
                <a:avLst/>
                <a:gdLst>
                  <a:gd name="T0" fmla="*/ 0 w 120"/>
                  <a:gd name="T1" fmla="*/ 0 h 211"/>
                  <a:gd name="T2" fmla="*/ 120 w 120"/>
                  <a:gd name="T3" fmla="*/ 37 h 211"/>
                  <a:gd name="T4" fmla="*/ 120 w 120"/>
                  <a:gd name="T5" fmla="*/ 211 h 211"/>
                  <a:gd name="T6" fmla="*/ 104 w 120"/>
                  <a:gd name="T7" fmla="*/ 206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0" h="211">
                    <a:moveTo>
                      <a:pt x="0" y="0"/>
                    </a:moveTo>
                    <a:lnTo>
                      <a:pt x="120" y="37"/>
                    </a:lnTo>
                    <a:lnTo>
                      <a:pt x="120" y="211"/>
                    </a:lnTo>
                    <a:lnTo>
                      <a:pt x="104" y="206"/>
                    </a:ln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4" name="Freeform 7">
                <a:extLst>
                  <a:ext uri="{FF2B5EF4-FFF2-40B4-BE49-F238E27FC236}">
                    <a16:creationId xmlns:a16="http://schemas.microsoft.com/office/drawing/2014/main" id="{EF129020-94C6-4A07-8E59-4E4FA5A45B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7" y="3382"/>
                <a:ext cx="131" cy="211"/>
              </a:xfrm>
              <a:custGeom>
                <a:avLst/>
                <a:gdLst>
                  <a:gd name="T0" fmla="*/ 131 w 131"/>
                  <a:gd name="T1" fmla="*/ 38 h 211"/>
                  <a:gd name="T2" fmla="*/ 131 w 131"/>
                  <a:gd name="T3" fmla="*/ 211 h 211"/>
                  <a:gd name="T4" fmla="*/ 0 w 131"/>
                  <a:gd name="T5" fmla="*/ 173 h 211"/>
                  <a:gd name="T6" fmla="*/ 0 w 131"/>
                  <a:gd name="T7" fmla="*/ 0 h 211"/>
                  <a:gd name="T8" fmla="*/ 131 w 131"/>
                  <a:gd name="T9" fmla="*/ 38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" h="211">
                    <a:moveTo>
                      <a:pt x="131" y="38"/>
                    </a:moveTo>
                    <a:lnTo>
                      <a:pt x="131" y="211"/>
                    </a:lnTo>
                    <a:lnTo>
                      <a:pt x="0" y="173"/>
                    </a:lnTo>
                    <a:lnTo>
                      <a:pt x="0" y="0"/>
                    </a:lnTo>
                    <a:lnTo>
                      <a:pt x="131" y="38"/>
                    </a:lnTo>
                    <a:close/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B8406CD5-5DF3-4C4B-911F-BFC9E65E890D}"/>
                </a:ext>
              </a:extLst>
            </p:cNvPr>
            <p:cNvGrpSpPr/>
            <p:nvPr/>
          </p:nvGrpSpPr>
          <p:grpSpPr>
            <a:xfrm>
              <a:off x="1984596" y="5863452"/>
              <a:ext cx="293717" cy="359549"/>
              <a:chOff x="965200" y="3436897"/>
              <a:chExt cx="528881" cy="647424"/>
            </a:xfrm>
          </p:grpSpPr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23C1873A-6823-4C9B-B05A-7960726710CE}"/>
                  </a:ext>
                </a:extLst>
              </p:cNvPr>
              <p:cNvGrpSpPr/>
              <p:nvPr/>
            </p:nvGrpSpPr>
            <p:grpSpPr>
              <a:xfrm flipH="1">
                <a:off x="965200" y="3436897"/>
                <a:ext cx="528881" cy="647424"/>
                <a:chOff x="3003960" y="3685414"/>
                <a:chExt cx="403310" cy="493707"/>
              </a:xfrm>
            </p:grpSpPr>
            <p:sp>
              <p:nvSpPr>
                <p:cNvPr id="40" name="Snip Single Corner Rectangle 26">
                  <a:extLst>
                    <a:ext uri="{FF2B5EF4-FFF2-40B4-BE49-F238E27FC236}">
                      <a16:creationId xmlns:a16="http://schemas.microsoft.com/office/drawing/2014/main" id="{1F4F5379-77C6-4660-B7BE-BCD042698837}"/>
                    </a:ext>
                  </a:extLst>
                </p:cNvPr>
                <p:cNvSpPr/>
                <p:nvPr/>
              </p:nvSpPr>
              <p:spPr bwMode="auto">
                <a:xfrm flipH="1">
                  <a:off x="3003960" y="3685414"/>
                  <a:ext cx="403310" cy="493707"/>
                </a:xfrm>
                <a:prstGeom prst="snip1Rect">
                  <a:avLst>
                    <a:gd name="adj" fmla="val 28736"/>
                  </a:avLst>
                </a:prstGeom>
                <a:noFill/>
                <a:ln w="12700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1" name="Triangle 27">
                  <a:extLst>
                    <a:ext uri="{FF2B5EF4-FFF2-40B4-BE49-F238E27FC236}">
                      <a16:creationId xmlns:a16="http://schemas.microsoft.com/office/drawing/2014/main" id="{FF271D8E-12FF-4053-A869-A15F54A70B9D}"/>
                    </a:ext>
                  </a:extLst>
                </p:cNvPr>
                <p:cNvSpPr/>
                <p:nvPr/>
              </p:nvSpPr>
              <p:spPr bwMode="auto">
                <a:xfrm rot="8100000">
                  <a:off x="3012552" y="3733609"/>
                  <a:ext cx="160049" cy="80930"/>
                </a:xfrm>
                <a:prstGeom prst="triangle">
                  <a:avLst/>
                </a:prstGeom>
                <a:noFill/>
                <a:ln w="12700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A34AB135-F31D-44F4-84FE-4815FA8D4F0E}"/>
                  </a:ext>
                </a:extLst>
              </p:cNvPr>
              <p:cNvCxnSpPr/>
              <p:nvPr/>
            </p:nvCxnSpPr>
            <p:spPr>
              <a:xfrm>
                <a:off x="1047750" y="3578225"/>
                <a:ext cx="2159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1B95863E-6698-48D0-9B81-ED649AB79192}"/>
                  </a:ext>
                </a:extLst>
              </p:cNvPr>
              <p:cNvCxnSpPr/>
              <p:nvPr/>
            </p:nvCxnSpPr>
            <p:spPr>
              <a:xfrm>
                <a:off x="1047750" y="3697817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D421CBBA-9E14-465B-A6F6-60F01EEAFC2D}"/>
                  </a:ext>
                </a:extLst>
              </p:cNvPr>
              <p:cNvCxnSpPr/>
              <p:nvPr/>
            </p:nvCxnSpPr>
            <p:spPr>
              <a:xfrm>
                <a:off x="1047750" y="3817409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DF0808B3-4F31-47C5-9066-B399FEF042AA}"/>
                  </a:ext>
                </a:extLst>
              </p:cNvPr>
              <p:cNvCxnSpPr/>
              <p:nvPr/>
            </p:nvCxnSpPr>
            <p:spPr>
              <a:xfrm>
                <a:off x="1047750" y="3937000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11044339-D151-414A-B209-4CD37E763119}"/>
                </a:ext>
              </a:extLst>
            </p:cNvPr>
            <p:cNvGrpSpPr/>
            <p:nvPr/>
          </p:nvGrpSpPr>
          <p:grpSpPr>
            <a:xfrm>
              <a:off x="2448035" y="5853915"/>
              <a:ext cx="378622" cy="378622"/>
              <a:chOff x="1658620" y="1705294"/>
              <a:chExt cx="326376" cy="326376"/>
            </a:xfrm>
          </p:grpSpPr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2737603C-EFE6-47A9-A50F-47FAABD7155D}"/>
                  </a:ext>
                </a:extLst>
              </p:cNvPr>
              <p:cNvSpPr/>
              <p:nvPr/>
            </p:nvSpPr>
            <p:spPr bwMode="auto">
              <a:xfrm>
                <a:off x="1658620" y="1705294"/>
                <a:ext cx="326376" cy="326376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4" name="Isosceles Triangle 33">
                <a:extLst>
                  <a:ext uri="{FF2B5EF4-FFF2-40B4-BE49-F238E27FC236}">
                    <a16:creationId xmlns:a16="http://schemas.microsoft.com/office/drawing/2014/main" id="{A6B6A7B8-0E11-4EDD-96A6-A4B54BD6EF20}"/>
                  </a:ext>
                </a:extLst>
              </p:cNvPr>
              <p:cNvSpPr/>
              <p:nvPr/>
            </p:nvSpPr>
            <p:spPr bwMode="auto">
              <a:xfrm rot="5400000">
                <a:off x="1759612" y="1802351"/>
                <a:ext cx="153423" cy="132260"/>
              </a:xfrm>
              <a:prstGeom prst="triangl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652EE3C2-464C-4F61-977A-EC4E06D2032C}"/>
              </a:ext>
            </a:extLst>
          </p:cNvPr>
          <p:cNvGrpSpPr/>
          <p:nvPr/>
        </p:nvGrpSpPr>
        <p:grpSpPr>
          <a:xfrm>
            <a:off x="4674257" y="2505757"/>
            <a:ext cx="554226" cy="494220"/>
            <a:chOff x="2488012" y="1320237"/>
            <a:chExt cx="4696415" cy="4187934"/>
          </a:xfrm>
        </p:grpSpPr>
        <p:sp>
          <p:nvSpPr>
            <p:cNvPr id="46" name="Hexagon 45">
              <a:extLst>
                <a:ext uri="{FF2B5EF4-FFF2-40B4-BE49-F238E27FC236}">
                  <a16:creationId xmlns:a16="http://schemas.microsoft.com/office/drawing/2014/main" id="{3359A687-7A20-448C-824C-5F1637BF1340}"/>
                </a:ext>
              </a:extLst>
            </p:cNvPr>
            <p:cNvSpPr/>
            <p:nvPr/>
          </p:nvSpPr>
          <p:spPr bwMode="auto">
            <a:xfrm>
              <a:off x="2488012" y="1320237"/>
              <a:ext cx="4696415" cy="4187934"/>
            </a:xfrm>
            <a:prstGeom prst="hexagon">
              <a:avLst/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7" name="Snip Single Corner Rectangle 26">
              <a:extLst>
                <a:ext uri="{FF2B5EF4-FFF2-40B4-BE49-F238E27FC236}">
                  <a16:creationId xmlns:a16="http://schemas.microsoft.com/office/drawing/2014/main" id="{71B0BDD6-18D2-47EF-947B-3E6BEF64B5F2}"/>
                </a:ext>
              </a:extLst>
            </p:cNvPr>
            <p:cNvSpPr/>
            <p:nvPr/>
          </p:nvSpPr>
          <p:spPr bwMode="auto">
            <a:xfrm>
              <a:off x="3677764" y="2189582"/>
              <a:ext cx="2316905" cy="2449244"/>
            </a:xfrm>
            <a:prstGeom prst="snip1Rect">
              <a:avLst>
                <a:gd name="adj" fmla="val 28736"/>
              </a:avLst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91440" rIns="0" bIns="9144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F96A4236-44A0-4C1B-8760-BCC4060F9EE9}"/>
                </a:ext>
              </a:extLst>
            </p:cNvPr>
            <p:cNvGrpSpPr/>
            <p:nvPr/>
          </p:nvGrpSpPr>
          <p:grpSpPr>
            <a:xfrm>
              <a:off x="4271145" y="2716507"/>
              <a:ext cx="790235" cy="1472560"/>
              <a:chOff x="4917030" y="1019829"/>
              <a:chExt cx="123056" cy="229308"/>
            </a:xfrm>
          </p:grpSpPr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86C73A95-3C6E-4813-B92E-6565A9EC93C1}"/>
                  </a:ext>
                </a:extLst>
              </p:cNvPr>
              <p:cNvSpPr/>
              <p:nvPr/>
            </p:nvSpPr>
            <p:spPr bwMode="auto">
              <a:xfrm>
                <a:off x="4981844" y="1019829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3AFF0096-56CB-4435-8D70-9E127882C8F9}"/>
                  </a:ext>
                </a:extLst>
              </p:cNvPr>
              <p:cNvSpPr/>
              <p:nvPr/>
            </p:nvSpPr>
            <p:spPr bwMode="auto">
              <a:xfrm>
                <a:off x="4929274" y="1019829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F43F8457-79ED-405E-BB02-1C2D578FF673}"/>
                  </a:ext>
                </a:extLst>
              </p:cNvPr>
              <p:cNvSpPr/>
              <p:nvPr/>
            </p:nvSpPr>
            <p:spPr bwMode="auto">
              <a:xfrm>
                <a:off x="4917030" y="1156660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307F8690-458C-46F9-854F-6AEFA9AF47DC}"/>
                  </a:ext>
                </a:extLst>
              </p:cNvPr>
              <p:cNvSpPr/>
              <p:nvPr/>
            </p:nvSpPr>
            <p:spPr bwMode="auto">
              <a:xfrm>
                <a:off x="5010414" y="1156660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49" name="Right Triangle 48">
              <a:extLst>
                <a:ext uri="{FF2B5EF4-FFF2-40B4-BE49-F238E27FC236}">
                  <a16:creationId xmlns:a16="http://schemas.microsoft.com/office/drawing/2014/main" id="{90EE31FE-558D-45A3-90F5-711F798B717E}"/>
                </a:ext>
              </a:extLst>
            </p:cNvPr>
            <p:cNvSpPr/>
            <p:nvPr/>
          </p:nvSpPr>
          <p:spPr bwMode="auto">
            <a:xfrm>
              <a:off x="5326469" y="2189582"/>
              <a:ext cx="668200" cy="662475"/>
            </a:xfrm>
            <a:prstGeom prst="rtTriangle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E10FCD9-CF09-409D-9494-7D6E20EBC8EE}"/>
              </a:ext>
            </a:extLst>
          </p:cNvPr>
          <p:cNvGrpSpPr/>
          <p:nvPr/>
        </p:nvGrpSpPr>
        <p:grpSpPr>
          <a:xfrm>
            <a:off x="2953700" y="2509141"/>
            <a:ext cx="485337" cy="487453"/>
            <a:chOff x="5279190" y="5401430"/>
            <a:chExt cx="1101836" cy="1106637"/>
          </a:xfrm>
        </p:grpSpPr>
        <p:sp>
          <p:nvSpPr>
            <p:cNvPr id="55" name="Freeform: Shape 815">
              <a:extLst>
                <a:ext uri="{FF2B5EF4-FFF2-40B4-BE49-F238E27FC236}">
                  <a16:creationId xmlns:a16="http://schemas.microsoft.com/office/drawing/2014/main" id="{5B022782-7D95-490E-A5B3-6DABAFA6AFBA}"/>
                </a:ext>
              </a:extLst>
            </p:cNvPr>
            <p:cNvSpPr/>
            <p:nvPr/>
          </p:nvSpPr>
          <p:spPr bwMode="auto">
            <a:xfrm>
              <a:off x="5708249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Freeform: Shape 816">
              <a:extLst>
                <a:ext uri="{FF2B5EF4-FFF2-40B4-BE49-F238E27FC236}">
                  <a16:creationId xmlns:a16="http://schemas.microsoft.com/office/drawing/2014/main" id="{B6D0B159-8E79-4651-8354-04063FF1EF32}"/>
                </a:ext>
              </a:extLst>
            </p:cNvPr>
            <p:cNvSpPr/>
            <p:nvPr/>
          </p:nvSpPr>
          <p:spPr bwMode="auto">
            <a:xfrm>
              <a:off x="5921817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7" name="Freeform: Shape 817">
              <a:extLst>
                <a:ext uri="{FF2B5EF4-FFF2-40B4-BE49-F238E27FC236}">
                  <a16:creationId xmlns:a16="http://schemas.microsoft.com/office/drawing/2014/main" id="{28B123D4-6392-455E-A473-74E033051344}"/>
                </a:ext>
              </a:extLst>
            </p:cNvPr>
            <p:cNvSpPr/>
            <p:nvPr/>
          </p:nvSpPr>
          <p:spPr bwMode="auto">
            <a:xfrm>
              <a:off x="6135385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8" name="Freeform: Shape 818">
              <a:extLst>
                <a:ext uri="{FF2B5EF4-FFF2-40B4-BE49-F238E27FC236}">
                  <a16:creationId xmlns:a16="http://schemas.microsoft.com/office/drawing/2014/main" id="{2D004FE4-3242-4351-A813-18EEFC28BE30}"/>
                </a:ext>
              </a:extLst>
            </p:cNvPr>
            <p:cNvSpPr/>
            <p:nvPr/>
          </p:nvSpPr>
          <p:spPr bwMode="auto">
            <a:xfrm>
              <a:off x="5279191" y="5499596"/>
              <a:ext cx="1101835" cy="1008471"/>
            </a:xfrm>
            <a:custGeom>
              <a:avLst/>
              <a:gdLst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245153 w 1101835"/>
                <a:gd name="connsiteY9" fmla="*/ 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336593 w 1101835"/>
                <a:gd name="connsiteY9" fmla="*/ 9144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0" fmla="*/ 489041 w 1101835"/>
                <a:gd name="connsiteY0" fmla="*/ 0 h 1008471"/>
                <a:gd name="connsiteX1" fmla="*/ 490307 w 1101835"/>
                <a:gd name="connsiteY1" fmla="*/ 551557 h 1008471"/>
                <a:gd name="connsiteX2" fmla="*/ 796071 w 1101835"/>
                <a:gd name="connsiteY2" fmla="*/ 284445 h 1008471"/>
                <a:gd name="connsiteX3" fmla="*/ 796071 w 1101835"/>
                <a:gd name="connsiteY3" fmla="*/ 551557 h 1008471"/>
                <a:gd name="connsiteX4" fmla="*/ 1101835 w 1101835"/>
                <a:gd name="connsiteY4" fmla="*/ 284445 h 1008471"/>
                <a:gd name="connsiteX5" fmla="*/ 1101835 w 1101835"/>
                <a:gd name="connsiteY5" fmla="*/ 1008471 h 1008471"/>
                <a:gd name="connsiteX6" fmla="*/ 0 w 1101835"/>
                <a:gd name="connsiteY6" fmla="*/ 1008471 h 1008471"/>
                <a:gd name="connsiteX7" fmla="*/ 1265 w 1101835"/>
                <a:gd name="connsiteY7" fmla="*/ 0 h 10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1835" h="1008471">
                  <a:moveTo>
                    <a:pt x="489041" y="0"/>
                  </a:moveTo>
                  <a:lnTo>
                    <a:pt x="490307" y="551557"/>
                  </a:lnTo>
                  <a:lnTo>
                    <a:pt x="796071" y="284445"/>
                  </a:lnTo>
                  <a:lnTo>
                    <a:pt x="796071" y="551557"/>
                  </a:lnTo>
                  <a:lnTo>
                    <a:pt x="1101835" y="284445"/>
                  </a:lnTo>
                  <a:lnTo>
                    <a:pt x="1101835" y="1008471"/>
                  </a:lnTo>
                  <a:lnTo>
                    <a:pt x="0" y="1008471"/>
                  </a:lnTo>
                  <a:cubicBezTo>
                    <a:pt x="422" y="672314"/>
                    <a:pt x="843" y="336157"/>
                    <a:pt x="1265" y="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 useBgFill="1">
          <p:nvSpPr>
            <p:cNvPr id="59" name="Freeform: Shape 819">
              <a:extLst>
                <a:ext uri="{FF2B5EF4-FFF2-40B4-BE49-F238E27FC236}">
                  <a16:creationId xmlns:a16="http://schemas.microsoft.com/office/drawing/2014/main" id="{8A5067FE-D096-4DCC-A607-A78A28437174}"/>
                </a:ext>
              </a:extLst>
            </p:cNvPr>
            <p:cNvSpPr/>
            <p:nvPr/>
          </p:nvSpPr>
          <p:spPr bwMode="auto">
            <a:xfrm>
              <a:off x="5279190" y="5401430"/>
              <a:ext cx="488333" cy="201776"/>
            </a:xfrm>
            <a:custGeom>
              <a:avLst/>
              <a:gdLst>
                <a:gd name="connsiteX0" fmla="*/ 246301 w 492602"/>
                <a:gd name="connsiteY0" fmla="*/ 0 h 201776"/>
                <a:gd name="connsiteX1" fmla="*/ 492602 w 492602"/>
                <a:gd name="connsiteY1" fmla="*/ 100888 h 201776"/>
                <a:gd name="connsiteX2" fmla="*/ 246301 w 492602"/>
                <a:gd name="connsiteY2" fmla="*/ 201776 h 201776"/>
                <a:gd name="connsiteX3" fmla="*/ 0 w 492602"/>
                <a:gd name="connsiteY3" fmla="*/ 100888 h 201776"/>
                <a:gd name="connsiteX4" fmla="*/ 246301 w 492602"/>
                <a:gd name="connsiteY4" fmla="*/ 0 h 20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602" h="201776">
                  <a:moveTo>
                    <a:pt x="246301" y="0"/>
                  </a:moveTo>
                  <a:cubicBezTo>
                    <a:pt x="382329" y="0"/>
                    <a:pt x="492602" y="45169"/>
                    <a:pt x="492602" y="100888"/>
                  </a:cubicBezTo>
                  <a:cubicBezTo>
                    <a:pt x="492602" y="156607"/>
                    <a:pt x="382329" y="201776"/>
                    <a:pt x="246301" y="201776"/>
                  </a:cubicBezTo>
                  <a:cubicBezTo>
                    <a:pt x="110273" y="201776"/>
                    <a:pt x="0" y="156607"/>
                    <a:pt x="0" y="100888"/>
                  </a:cubicBezTo>
                  <a:cubicBezTo>
                    <a:pt x="0" y="45169"/>
                    <a:pt x="110273" y="0"/>
                    <a:pt x="246301" y="0"/>
                  </a:cubicBezTo>
                  <a:close/>
                </a:path>
              </a:pathLst>
            </a:custGeom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289C201B-BDD0-47C1-A002-032C88B051C8}"/>
              </a:ext>
            </a:extLst>
          </p:cNvPr>
          <p:cNvCxnSpPr>
            <a:cxnSpLocks/>
            <a:stCxn id="10" idx="2"/>
          </p:cNvCxnSpPr>
          <p:nvPr/>
        </p:nvCxnSpPr>
        <p:spPr>
          <a:xfrm rot="16200000" flipH="1">
            <a:off x="6371128" y="2146177"/>
            <a:ext cx="1015191" cy="3864598"/>
          </a:xfrm>
          <a:prstGeom prst="bentConnector2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A0953159-B614-4014-B2A8-F3BCF6E1604B}"/>
              </a:ext>
            </a:extLst>
          </p:cNvPr>
          <p:cNvCxnSpPr>
            <a:cxnSpLocks/>
          </p:cNvCxnSpPr>
          <p:nvPr/>
        </p:nvCxnSpPr>
        <p:spPr>
          <a:xfrm>
            <a:off x="3572438" y="4712914"/>
            <a:ext cx="5238582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AFFB9E69-706A-487E-8726-27C8E5CCB939}"/>
              </a:ext>
            </a:extLst>
          </p:cNvPr>
          <p:cNvCxnSpPr>
            <a:cxnSpLocks/>
          </p:cNvCxnSpPr>
          <p:nvPr/>
        </p:nvCxnSpPr>
        <p:spPr>
          <a:xfrm flipV="1">
            <a:off x="3572437" y="2818791"/>
            <a:ext cx="933638" cy="9252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AC628E4C-A7AD-46A7-ADF3-DA9942BCCA03}"/>
              </a:ext>
            </a:extLst>
          </p:cNvPr>
          <p:cNvCxnSpPr>
            <a:cxnSpLocks/>
          </p:cNvCxnSpPr>
          <p:nvPr/>
        </p:nvCxnSpPr>
        <p:spPr>
          <a:xfrm>
            <a:off x="2316994" y="2828043"/>
            <a:ext cx="448119" cy="1665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664EEE28-2950-4FEC-B238-E9A347F8183C}"/>
              </a:ext>
            </a:extLst>
          </p:cNvPr>
          <p:cNvCxnSpPr>
            <a:cxnSpLocks/>
          </p:cNvCxnSpPr>
          <p:nvPr/>
        </p:nvCxnSpPr>
        <p:spPr>
          <a:xfrm>
            <a:off x="2316994" y="4635035"/>
            <a:ext cx="448119" cy="1665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Group 64">
            <a:extLst>
              <a:ext uri="{FF2B5EF4-FFF2-40B4-BE49-F238E27FC236}">
                <a16:creationId xmlns:a16="http://schemas.microsoft.com/office/drawing/2014/main" id="{E6E34673-8320-494E-9355-5D7373268EB5}"/>
              </a:ext>
            </a:extLst>
          </p:cNvPr>
          <p:cNvGrpSpPr/>
          <p:nvPr/>
        </p:nvGrpSpPr>
        <p:grpSpPr>
          <a:xfrm>
            <a:off x="2953700" y="4395430"/>
            <a:ext cx="485337" cy="487453"/>
            <a:chOff x="5279190" y="5401430"/>
            <a:chExt cx="1101836" cy="1106637"/>
          </a:xfrm>
        </p:grpSpPr>
        <p:sp>
          <p:nvSpPr>
            <p:cNvPr id="66" name="Freeform: Shape 815">
              <a:extLst>
                <a:ext uri="{FF2B5EF4-FFF2-40B4-BE49-F238E27FC236}">
                  <a16:creationId xmlns:a16="http://schemas.microsoft.com/office/drawing/2014/main" id="{9503E7E0-2F38-44AE-9453-3FADECE2DE14}"/>
                </a:ext>
              </a:extLst>
            </p:cNvPr>
            <p:cNvSpPr/>
            <p:nvPr/>
          </p:nvSpPr>
          <p:spPr bwMode="auto">
            <a:xfrm>
              <a:off x="5708249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7" name="Freeform: Shape 816">
              <a:extLst>
                <a:ext uri="{FF2B5EF4-FFF2-40B4-BE49-F238E27FC236}">
                  <a16:creationId xmlns:a16="http://schemas.microsoft.com/office/drawing/2014/main" id="{D42502AB-5592-412F-9692-BB6C583CC641}"/>
                </a:ext>
              </a:extLst>
            </p:cNvPr>
            <p:cNvSpPr/>
            <p:nvPr/>
          </p:nvSpPr>
          <p:spPr bwMode="auto">
            <a:xfrm>
              <a:off x="5921817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8" name="Freeform: Shape 817">
              <a:extLst>
                <a:ext uri="{FF2B5EF4-FFF2-40B4-BE49-F238E27FC236}">
                  <a16:creationId xmlns:a16="http://schemas.microsoft.com/office/drawing/2014/main" id="{27C8707D-98F8-4568-A4BD-442DFA8670D7}"/>
                </a:ext>
              </a:extLst>
            </p:cNvPr>
            <p:cNvSpPr/>
            <p:nvPr/>
          </p:nvSpPr>
          <p:spPr bwMode="auto">
            <a:xfrm>
              <a:off x="6135385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9" name="Freeform: Shape 818">
              <a:extLst>
                <a:ext uri="{FF2B5EF4-FFF2-40B4-BE49-F238E27FC236}">
                  <a16:creationId xmlns:a16="http://schemas.microsoft.com/office/drawing/2014/main" id="{4EF73B00-CAB3-43CA-97AA-60092C179800}"/>
                </a:ext>
              </a:extLst>
            </p:cNvPr>
            <p:cNvSpPr/>
            <p:nvPr/>
          </p:nvSpPr>
          <p:spPr bwMode="auto">
            <a:xfrm>
              <a:off x="5279191" y="5499596"/>
              <a:ext cx="1101835" cy="1008471"/>
            </a:xfrm>
            <a:custGeom>
              <a:avLst/>
              <a:gdLst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245153 w 1101835"/>
                <a:gd name="connsiteY9" fmla="*/ 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336593 w 1101835"/>
                <a:gd name="connsiteY9" fmla="*/ 9144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0" fmla="*/ 489041 w 1101835"/>
                <a:gd name="connsiteY0" fmla="*/ 0 h 1008471"/>
                <a:gd name="connsiteX1" fmla="*/ 490307 w 1101835"/>
                <a:gd name="connsiteY1" fmla="*/ 551557 h 1008471"/>
                <a:gd name="connsiteX2" fmla="*/ 796071 w 1101835"/>
                <a:gd name="connsiteY2" fmla="*/ 284445 h 1008471"/>
                <a:gd name="connsiteX3" fmla="*/ 796071 w 1101835"/>
                <a:gd name="connsiteY3" fmla="*/ 551557 h 1008471"/>
                <a:gd name="connsiteX4" fmla="*/ 1101835 w 1101835"/>
                <a:gd name="connsiteY4" fmla="*/ 284445 h 1008471"/>
                <a:gd name="connsiteX5" fmla="*/ 1101835 w 1101835"/>
                <a:gd name="connsiteY5" fmla="*/ 1008471 h 1008471"/>
                <a:gd name="connsiteX6" fmla="*/ 0 w 1101835"/>
                <a:gd name="connsiteY6" fmla="*/ 1008471 h 1008471"/>
                <a:gd name="connsiteX7" fmla="*/ 1265 w 1101835"/>
                <a:gd name="connsiteY7" fmla="*/ 0 h 10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1835" h="1008471">
                  <a:moveTo>
                    <a:pt x="489041" y="0"/>
                  </a:moveTo>
                  <a:lnTo>
                    <a:pt x="490307" y="551557"/>
                  </a:lnTo>
                  <a:lnTo>
                    <a:pt x="796071" y="284445"/>
                  </a:lnTo>
                  <a:lnTo>
                    <a:pt x="796071" y="551557"/>
                  </a:lnTo>
                  <a:lnTo>
                    <a:pt x="1101835" y="284445"/>
                  </a:lnTo>
                  <a:lnTo>
                    <a:pt x="1101835" y="1008471"/>
                  </a:lnTo>
                  <a:lnTo>
                    <a:pt x="0" y="1008471"/>
                  </a:lnTo>
                  <a:cubicBezTo>
                    <a:pt x="422" y="672314"/>
                    <a:pt x="843" y="336157"/>
                    <a:pt x="1265" y="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 useBgFill="1">
          <p:nvSpPr>
            <p:cNvPr id="70" name="Freeform: Shape 819">
              <a:extLst>
                <a:ext uri="{FF2B5EF4-FFF2-40B4-BE49-F238E27FC236}">
                  <a16:creationId xmlns:a16="http://schemas.microsoft.com/office/drawing/2014/main" id="{32A8B49E-5908-4040-B13C-988A5D54DC3C}"/>
                </a:ext>
              </a:extLst>
            </p:cNvPr>
            <p:cNvSpPr/>
            <p:nvPr/>
          </p:nvSpPr>
          <p:spPr bwMode="auto">
            <a:xfrm>
              <a:off x="5279190" y="5401430"/>
              <a:ext cx="488333" cy="201776"/>
            </a:xfrm>
            <a:custGeom>
              <a:avLst/>
              <a:gdLst>
                <a:gd name="connsiteX0" fmla="*/ 246301 w 492602"/>
                <a:gd name="connsiteY0" fmla="*/ 0 h 201776"/>
                <a:gd name="connsiteX1" fmla="*/ 492602 w 492602"/>
                <a:gd name="connsiteY1" fmla="*/ 100888 h 201776"/>
                <a:gd name="connsiteX2" fmla="*/ 246301 w 492602"/>
                <a:gd name="connsiteY2" fmla="*/ 201776 h 201776"/>
                <a:gd name="connsiteX3" fmla="*/ 0 w 492602"/>
                <a:gd name="connsiteY3" fmla="*/ 100888 h 201776"/>
                <a:gd name="connsiteX4" fmla="*/ 246301 w 492602"/>
                <a:gd name="connsiteY4" fmla="*/ 0 h 20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602" h="201776">
                  <a:moveTo>
                    <a:pt x="246301" y="0"/>
                  </a:moveTo>
                  <a:cubicBezTo>
                    <a:pt x="382329" y="0"/>
                    <a:pt x="492602" y="45169"/>
                    <a:pt x="492602" y="100888"/>
                  </a:cubicBezTo>
                  <a:cubicBezTo>
                    <a:pt x="492602" y="156607"/>
                    <a:pt x="382329" y="201776"/>
                    <a:pt x="246301" y="201776"/>
                  </a:cubicBezTo>
                  <a:cubicBezTo>
                    <a:pt x="110273" y="201776"/>
                    <a:pt x="0" y="156607"/>
                    <a:pt x="0" y="100888"/>
                  </a:cubicBezTo>
                  <a:cubicBezTo>
                    <a:pt x="0" y="45169"/>
                    <a:pt x="110273" y="0"/>
                    <a:pt x="246301" y="0"/>
                  </a:cubicBezTo>
                  <a:close/>
                </a:path>
              </a:pathLst>
            </a:custGeom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71" name="Shape 101">
            <a:extLst>
              <a:ext uri="{FF2B5EF4-FFF2-40B4-BE49-F238E27FC236}">
                <a16:creationId xmlns:a16="http://schemas.microsoft.com/office/drawing/2014/main" id="{643E2A7F-6E30-4334-AC9D-4359271E42A6}"/>
              </a:ext>
            </a:extLst>
          </p:cNvPr>
          <p:cNvSpPr txBox="1"/>
          <p:nvPr/>
        </p:nvSpPr>
        <p:spPr>
          <a:xfrm>
            <a:off x="10602630" y="5387437"/>
            <a:ext cx="1516015" cy="25387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  <a:sym typeface="Calibri"/>
              </a:rPr>
              <a:t>Browser/Device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05896833-F843-4227-902F-1FC1F976B229}"/>
              </a:ext>
            </a:extLst>
          </p:cNvPr>
          <p:cNvGrpSpPr/>
          <p:nvPr/>
        </p:nvGrpSpPr>
        <p:grpSpPr>
          <a:xfrm>
            <a:off x="10818474" y="4879638"/>
            <a:ext cx="669375" cy="526560"/>
            <a:chOff x="10725498" y="5087603"/>
            <a:chExt cx="498940" cy="424437"/>
          </a:xfrm>
        </p:grpSpPr>
        <p:sp>
          <p:nvSpPr>
            <p:cNvPr id="73" name="graph_2">
              <a:extLst>
                <a:ext uri="{FF2B5EF4-FFF2-40B4-BE49-F238E27FC236}">
                  <a16:creationId xmlns:a16="http://schemas.microsoft.com/office/drawing/2014/main" id="{37D02ADC-1749-4E4A-A3AC-187745E6E7B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829194" y="5267741"/>
              <a:ext cx="291548" cy="170948"/>
            </a:xfrm>
            <a:custGeom>
              <a:avLst/>
              <a:gdLst>
                <a:gd name="T0" fmla="*/ 195 w 249"/>
                <a:gd name="T1" fmla="*/ 0 h 146"/>
                <a:gd name="T2" fmla="*/ 244 w 249"/>
                <a:gd name="T3" fmla="*/ 0 h 146"/>
                <a:gd name="T4" fmla="*/ 244 w 249"/>
                <a:gd name="T5" fmla="*/ 50 h 146"/>
                <a:gd name="T6" fmla="*/ 244 w 249"/>
                <a:gd name="T7" fmla="*/ 0 h 146"/>
                <a:gd name="T8" fmla="*/ 141 w 249"/>
                <a:gd name="T9" fmla="*/ 106 h 146"/>
                <a:gd name="T10" fmla="*/ 109 w 249"/>
                <a:gd name="T11" fmla="*/ 106 h 146"/>
                <a:gd name="T12" fmla="*/ 0 w 249"/>
                <a:gd name="T13" fmla="*/ 146 h 146"/>
                <a:gd name="T14" fmla="*/ 249 w 249"/>
                <a:gd name="T15" fmla="*/ 146 h 146"/>
                <a:gd name="T16" fmla="*/ 88 w 249"/>
                <a:gd name="T17" fmla="*/ 106 h 146"/>
                <a:gd name="T18" fmla="*/ 54 w 249"/>
                <a:gd name="T19" fmla="*/ 106 h 146"/>
                <a:gd name="T20" fmla="*/ 35 w 249"/>
                <a:gd name="T21" fmla="*/ 106 h 146"/>
                <a:gd name="T22" fmla="*/ 1 w 249"/>
                <a:gd name="T23" fmla="*/ 10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9" h="146">
                  <a:moveTo>
                    <a:pt x="195" y="0"/>
                  </a:moveTo>
                  <a:lnTo>
                    <a:pt x="244" y="0"/>
                  </a:lnTo>
                  <a:lnTo>
                    <a:pt x="244" y="50"/>
                  </a:lnTo>
                  <a:moveTo>
                    <a:pt x="244" y="0"/>
                  </a:moveTo>
                  <a:lnTo>
                    <a:pt x="141" y="106"/>
                  </a:lnTo>
                  <a:lnTo>
                    <a:pt x="109" y="106"/>
                  </a:lnTo>
                  <a:moveTo>
                    <a:pt x="0" y="146"/>
                  </a:moveTo>
                  <a:lnTo>
                    <a:pt x="249" y="146"/>
                  </a:lnTo>
                  <a:moveTo>
                    <a:pt x="88" y="106"/>
                  </a:moveTo>
                  <a:lnTo>
                    <a:pt x="54" y="106"/>
                  </a:lnTo>
                  <a:moveTo>
                    <a:pt x="35" y="106"/>
                  </a:moveTo>
                  <a:lnTo>
                    <a:pt x="1" y="106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D8364ADF-C3BE-4F4D-9BE3-D3436D3E3B39}"/>
                </a:ext>
              </a:extLst>
            </p:cNvPr>
            <p:cNvGrpSpPr/>
            <p:nvPr/>
          </p:nvGrpSpPr>
          <p:grpSpPr>
            <a:xfrm>
              <a:off x="10725498" y="5087603"/>
              <a:ext cx="498940" cy="424437"/>
              <a:chOff x="10725498" y="5087603"/>
              <a:chExt cx="498940" cy="424437"/>
            </a:xfrm>
          </p:grpSpPr>
          <p:sp>
            <p:nvSpPr>
              <p:cNvPr id="75" name="Rectangle 9">
                <a:extLst>
                  <a:ext uri="{FF2B5EF4-FFF2-40B4-BE49-F238E27FC236}">
                    <a16:creationId xmlns:a16="http://schemas.microsoft.com/office/drawing/2014/main" id="{E17075C8-4FB3-44C6-B3F3-C4D79F0D6B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25498" y="5087603"/>
                <a:ext cx="498940" cy="424437"/>
              </a:xfrm>
              <a:prstGeom prst="rect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6" name="Line 10">
                <a:extLst>
                  <a:ext uri="{FF2B5EF4-FFF2-40B4-BE49-F238E27FC236}">
                    <a16:creationId xmlns:a16="http://schemas.microsoft.com/office/drawing/2014/main" id="{9E4815A8-BB5B-4142-A7DD-2EAB0E69159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725498" y="5202743"/>
                <a:ext cx="498940" cy="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7" name="Oval 11">
                <a:extLst>
                  <a:ext uri="{FF2B5EF4-FFF2-40B4-BE49-F238E27FC236}">
                    <a16:creationId xmlns:a16="http://schemas.microsoft.com/office/drawing/2014/main" id="{9EA22788-4CE4-427F-9D48-BA75D83BA7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14477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8" name="Oval 12">
                <a:extLst>
                  <a:ext uri="{FF2B5EF4-FFF2-40B4-BE49-F238E27FC236}">
                    <a16:creationId xmlns:a16="http://schemas.microsoft.com/office/drawing/2014/main" id="{2D3F8121-BF6F-4501-9161-6FAADB31EE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70918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9" name="Oval 13">
                <a:extLst>
                  <a:ext uri="{FF2B5EF4-FFF2-40B4-BE49-F238E27FC236}">
                    <a16:creationId xmlns:a16="http://schemas.microsoft.com/office/drawing/2014/main" id="{6C58CA77-F595-4C9D-93BB-CA3E398CCE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129617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1D6A1725-95CF-4A8E-A877-93FC73849533}"/>
              </a:ext>
            </a:extLst>
          </p:cNvPr>
          <p:cNvGrpSpPr/>
          <p:nvPr/>
        </p:nvGrpSpPr>
        <p:grpSpPr>
          <a:xfrm>
            <a:off x="6916933" y="2510033"/>
            <a:ext cx="595274" cy="485668"/>
            <a:chOff x="5818113" y="2550840"/>
            <a:chExt cx="529278" cy="431824"/>
          </a:xfrm>
        </p:grpSpPr>
        <p:sp>
          <p:nvSpPr>
            <p:cNvPr id="81" name="Diamond 80">
              <a:extLst>
                <a:ext uri="{FF2B5EF4-FFF2-40B4-BE49-F238E27FC236}">
                  <a16:creationId xmlns:a16="http://schemas.microsoft.com/office/drawing/2014/main" id="{70E37336-7214-4FDD-ACE6-5DFAB4D8ACFB}"/>
                </a:ext>
              </a:extLst>
            </p:cNvPr>
            <p:cNvSpPr/>
            <p:nvPr/>
          </p:nvSpPr>
          <p:spPr bwMode="auto">
            <a:xfrm>
              <a:off x="5818113" y="2550840"/>
              <a:ext cx="529278" cy="274527"/>
            </a:xfrm>
            <a:prstGeom prst="diamond">
              <a:avLst/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5A580FB0-85B5-4481-B3CF-47896F04F80A}"/>
                </a:ext>
              </a:extLst>
            </p:cNvPr>
            <p:cNvSpPr/>
            <p:nvPr/>
          </p:nvSpPr>
          <p:spPr bwMode="auto">
            <a:xfrm>
              <a:off x="5818113" y="2797200"/>
              <a:ext cx="529278" cy="185464"/>
            </a:xfrm>
            <a:custGeom>
              <a:avLst/>
              <a:gdLst>
                <a:gd name="connsiteX0" fmla="*/ 92930 w 529278"/>
                <a:gd name="connsiteY0" fmla="*/ 0 h 185464"/>
                <a:gd name="connsiteX1" fmla="*/ 264639 w 529278"/>
                <a:gd name="connsiteY1" fmla="*/ 89062 h 185464"/>
                <a:gd name="connsiteX2" fmla="*/ 436348 w 529278"/>
                <a:gd name="connsiteY2" fmla="*/ 0 h 185464"/>
                <a:gd name="connsiteX3" fmla="*/ 529278 w 529278"/>
                <a:gd name="connsiteY3" fmla="*/ 48201 h 185464"/>
                <a:gd name="connsiteX4" fmla="*/ 264639 w 529278"/>
                <a:gd name="connsiteY4" fmla="*/ 185464 h 185464"/>
                <a:gd name="connsiteX5" fmla="*/ 0 w 529278"/>
                <a:gd name="connsiteY5" fmla="*/ 48201 h 185464"/>
                <a:gd name="connsiteX6" fmla="*/ 92930 w 529278"/>
                <a:gd name="connsiteY6" fmla="*/ 0 h 185464"/>
                <a:gd name="connsiteX0" fmla="*/ 264639 w 529278"/>
                <a:gd name="connsiteY0" fmla="*/ 89062 h 185464"/>
                <a:gd name="connsiteX1" fmla="*/ 436348 w 529278"/>
                <a:gd name="connsiteY1" fmla="*/ 0 h 185464"/>
                <a:gd name="connsiteX2" fmla="*/ 529278 w 529278"/>
                <a:gd name="connsiteY2" fmla="*/ 48201 h 185464"/>
                <a:gd name="connsiteX3" fmla="*/ 264639 w 529278"/>
                <a:gd name="connsiteY3" fmla="*/ 185464 h 185464"/>
                <a:gd name="connsiteX4" fmla="*/ 0 w 529278"/>
                <a:gd name="connsiteY4" fmla="*/ 48201 h 185464"/>
                <a:gd name="connsiteX5" fmla="*/ 92930 w 529278"/>
                <a:gd name="connsiteY5" fmla="*/ 0 h 185464"/>
                <a:gd name="connsiteX6" fmla="*/ 356079 w 529278"/>
                <a:gd name="connsiteY6" fmla="*/ 180502 h 185464"/>
                <a:gd name="connsiteX0" fmla="*/ 264639 w 529278"/>
                <a:gd name="connsiteY0" fmla="*/ 89062 h 185464"/>
                <a:gd name="connsiteX1" fmla="*/ 436348 w 529278"/>
                <a:gd name="connsiteY1" fmla="*/ 0 h 185464"/>
                <a:gd name="connsiteX2" fmla="*/ 529278 w 529278"/>
                <a:gd name="connsiteY2" fmla="*/ 48201 h 185464"/>
                <a:gd name="connsiteX3" fmla="*/ 264639 w 529278"/>
                <a:gd name="connsiteY3" fmla="*/ 185464 h 185464"/>
                <a:gd name="connsiteX4" fmla="*/ 0 w 529278"/>
                <a:gd name="connsiteY4" fmla="*/ 48201 h 185464"/>
                <a:gd name="connsiteX5" fmla="*/ 92930 w 529278"/>
                <a:gd name="connsiteY5" fmla="*/ 0 h 185464"/>
                <a:gd name="connsiteX0" fmla="*/ 436348 w 529278"/>
                <a:gd name="connsiteY0" fmla="*/ 0 h 185464"/>
                <a:gd name="connsiteX1" fmla="*/ 529278 w 529278"/>
                <a:gd name="connsiteY1" fmla="*/ 48201 h 185464"/>
                <a:gd name="connsiteX2" fmla="*/ 264639 w 529278"/>
                <a:gd name="connsiteY2" fmla="*/ 185464 h 185464"/>
                <a:gd name="connsiteX3" fmla="*/ 0 w 529278"/>
                <a:gd name="connsiteY3" fmla="*/ 48201 h 185464"/>
                <a:gd name="connsiteX4" fmla="*/ 92930 w 529278"/>
                <a:gd name="connsiteY4" fmla="*/ 0 h 1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9278" h="185464">
                  <a:moveTo>
                    <a:pt x="436348" y="0"/>
                  </a:moveTo>
                  <a:lnTo>
                    <a:pt x="529278" y="48201"/>
                  </a:lnTo>
                  <a:lnTo>
                    <a:pt x="264639" y="185464"/>
                  </a:lnTo>
                  <a:lnTo>
                    <a:pt x="0" y="48201"/>
                  </a:lnTo>
                  <a:lnTo>
                    <a:pt x="92930" y="0"/>
                  </a:ln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83" name="Rectangle 82">
            <a:extLst>
              <a:ext uri="{FF2B5EF4-FFF2-40B4-BE49-F238E27FC236}">
                <a16:creationId xmlns:a16="http://schemas.microsoft.com/office/drawing/2014/main" id="{04401A94-2B95-4788-A3F9-5C6010700C84}"/>
              </a:ext>
            </a:extLst>
          </p:cNvPr>
          <p:cNvSpPr/>
          <p:nvPr/>
        </p:nvSpPr>
        <p:spPr bwMode="auto">
          <a:xfrm>
            <a:off x="1936542" y="1546386"/>
            <a:ext cx="8432552" cy="4263966"/>
          </a:xfrm>
          <a:prstGeom prst="rect">
            <a:avLst/>
          </a:prstGeom>
          <a:noFill/>
          <a:ln w="127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FFC45EA7-11FE-454D-BB8B-376CDA1CE5FB}"/>
              </a:ext>
            </a:extLst>
          </p:cNvPr>
          <p:cNvSpPr/>
          <p:nvPr/>
        </p:nvSpPr>
        <p:spPr bwMode="auto">
          <a:xfrm>
            <a:off x="8616021" y="1759613"/>
            <a:ext cx="1432897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odel &amp; Serve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04404849-2604-463D-8192-3E4BD6AEE1DF}"/>
              </a:ext>
            </a:extLst>
          </p:cNvPr>
          <p:cNvSpPr/>
          <p:nvPr/>
        </p:nvSpPr>
        <p:spPr bwMode="auto">
          <a:xfrm>
            <a:off x="6608998" y="1759613"/>
            <a:ext cx="1377453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rep &amp; Train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FD68BDF6-CA54-4CAA-829E-B0A404874D92}"/>
              </a:ext>
            </a:extLst>
          </p:cNvPr>
          <p:cNvSpPr/>
          <p:nvPr/>
        </p:nvSpPr>
        <p:spPr bwMode="auto">
          <a:xfrm>
            <a:off x="4267843" y="1759613"/>
            <a:ext cx="1392554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52259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tore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2E11F27E-562A-4641-8F70-0AFF53915489}"/>
              </a:ext>
            </a:extLst>
          </p:cNvPr>
          <p:cNvSpPr/>
          <p:nvPr/>
        </p:nvSpPr>
        <p:spPr bwMode="auto">
          <a:xfrm>
            <a:off x="2609300" y="1759613"/>
            <a:ext cx="1384695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gest</a:t>
            </a:r>
          </a:p>
        </p:txBody>
      </p:sp>
      <p:cxnSp>
        <p:nvCxnSpPr>
          <p:cNvPr id="88" name="Connector: Elbow 87">
            <a:extLst>
              <a:ext uri="{FF2B5EF4-FFF2-40B4-BE49-F238E27FC236}">
                <a16:creationId xmlns:a16="http://schemas.microsoft.com/office/drawing/2014/main" id="{811BF68E-FF3D-4C95-998C-25D2EADFC370}"/>
              </a:ext>
            </a:extLst>
          </p:cNvPr>
          <p:cNvCxnSpPr>
            <a:cxnSpLocks/>
            <a:stCxn id="14" idx="2"/>
          </p:cNvCxnSpPr>
          <p:nvPr/>
        </p:nvCxnSpPr>
        <p:spPr>
          <a:xfrm rot="16200000" flipH="1">
            <a:off x="7519240" y="3107134"/>
            <a:ext cx="989616" cy="1593944"/>
          </a:xfrm>
          <a:prstGeom prst="bentConnector2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tangle 88">
            <a:extLst>
              <a:ext uri="{FF2B5EF4-FFF2-40B4-BE49-F238E27FC236}">
                <a16:creationId xmlns:a16="http://schemas.microsoft.com/office/drawing/2014/main" id="{97732004-1A4C-4443-8298-8E71973144A3}"/>
              </a:ext>
            </a:extLst>
          </p:cNvPr>
          <p:cNvSpPr/>
          <p:nvPr/>
        </p:nvSpPr>
        <p:spPr bwMode="auto">
          <a:xfrm>
            <a:off x="10420291" y="1759613"/>
            <a:ext cx="1432897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telligence</a:t>
            </a: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83E8CD5A-4B0D-4E69-9FBB-8D2CA97C1735}"/>
              </a:ext>
            </a:extLst>
          </p:cNvPr>
          <p:cNvSpPr/>
          <p:nvPr/>
        </p:nvSpPr>
        <p:spPr bwMode="auto">
          <a:xfrm>
            <a:off x="8876002" y="4181263"/>
            <a:ext cx="1039148" cy="616657"/>
          </a:xfrm>
          <a:prstGeom prst="ellipse">
            <a:avLst/>
          </a:prstGeom>
          <a:noFill/>
          <a:ln w="12700">
            <a:solidFill>
              <a:schemeClr val="tx1"/>
            </a:solidFill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+mn-ea"/>
              <a:cs typeface="Segoe UI" pitchFamily="34" charset="0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BC3D513F-7288-44F9-9294-3F4973BA45DD}"/>
              </a:ext>
            </a:extLst>
          </p:cNvPr>
          <p:cNvSpPr/>
          <p:nvPr/>
        </p:nvSpPr>
        <p:spPr>
          <a:xfrm>
            <a:off x="8875764" y="4362660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osmosDB</a:t>
            </a:r>
          </a:p>
        </p:txBody>
      </p: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B9F6B9FF-73C3-4C67-A907-49C11078F9AF}"/>
              </a:ext>
            </a:extLst>
          </p:cNvPr>
          <p:cNvCxnSpPr>
            <a:cxnSpLocks/>
          </p:cNvCxnSpPr>
          <p:nvPr/>
        </p:nvCxnSpPr>
        <p:spPr>
          <a:xfrm>
            <a:off x="9364306" y="4843871"/>
            <a:ext cx="0" cy="304342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tangle 92">
            <a:extLst>
              <a:ext uri="{FF2B5EF4-FFF2-40B4-BE49-F238E27FC236}">
                <a16:creationId xmlns:a16="http://schemas.microsoft.com/office/drawing/2014/main" id="{E3A241F0-21B9-47D7-A79F-A9E535EF3FC4}"/>
              </a:ext>
            </a:extLst>
          </p:cNvPr>
          <p:cNvSpPr/>
          <p:nvPr/>
        </p:nvSpPr>
        <p:spPr bwMode="auto">
          <a:xfrm>
            <a:off x="8988152" y="5187649"/>
            <a:ext cx="886854" cy="502982"/>
          </a:xfrm>
          <a:prstGeom prst="rect">
            <a:avLst/>
          </a:prstGeom>
          <a:noFill/>
          <a:ln w="12700">
            <a:solidFill>
              <a:schemeClr val="tx1"/>
            </a:solidFill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+mn-ea"/>
              <a:cs typeface="Segoe UI" pitchFamily="34" charset="0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C2DAE59F-3BF7-4734-B94A-367F6C742DC4}"/>
              </a:ext>
            </a:extLst>
          </p:cNvPr>
          <p:cNvSpPr/>
          <p:nvPr/>
        </p:nvSpPr>
        <p:spPr>
          <a:xfrm>
            <a:off x="8908038" y="5285276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aaS App</a:t>
            </a:r>
          </a:p>
        </p:txBody>
      </p:sp>
      <p:pic>
        <p:nvPicPr>
          <p:cNvPr id="95" name="Picture 94">
            <a:extLst>
              <a:ext uri="{FF2B5EF4-FFF2-40B4-BE49-F238E27FC236}">
                <a16:creationId xmlns:a16="http://schemas.microsoft.com/office/drawing/2014/main" id="{AB9145F5-7D05-4400-9F36-3F7C247695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136" y="3074760"/>
            <a:ext cx="1627773" cy="1347333"/>
          </a:xfrm>
          <a:prstGeom prst="rect">
            <a:avLst/>
          </a:prstGeom>
        </p:spPr>
      </p:pic>
      <p:pic>
        <p:nvPicPr>
          <p:cNvPr id="96" name="Picture 95">
            <a:extLst>
              <a:ext uri="{FF2B5EF4-FFF2-40B4-BE49-F238E27FC236}">
                <a16:creationId xmlns:a16="http://schemas.microsoft.com/office/drawing/2014/main" id="{CE912937-96B4-4814-9B0F-2C9EDB8782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8152" y="3958971"/>
            <a:ext cx="795521" cy="417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790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63B91A-3179-407A-9D4D-722EAFFD21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3918">
              <a:defRPr/>
            </a:pPr>
            <a:r>
              <a:rPr lang="en-US" sz="3920" b="1">
                <a:solidFill>
                  <a:srgbClr val="0078D7"/>
                </a:solidFill>
                <a:latin typeface="Segoe UI Light (Headings)"/>
              </a:rPr>
              <a:t>Lift Existing SSIS + SQL Projects to Clou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576352-3AF1-42C7-9108-505FB4E529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7244" y="5351849"/>
            <a:ext cx="1667115" cy="262886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0F32B31-41B1-4723-B025-86D4AC15CE10}"/>
              </a:ext>
            </a:extLst>
          </p:cNvPr>
          <p:cNvCxnSpPr/>
          <p:nvPr/>
        </p:nvCxnSpPr>
        <p:spPr>
          <a:xfrm>
            <a:off x="281392" y="3999514"/>
            <a:ext cx="11590119" cy="67770"/>
          </a:xfrm>
          <a:prstGeom prst="line">
            <a:avLst/>
          </a:prstGeom>
          <a:ln w="12700">
            <a:solidFill>
              <a:schemeClr val="accent1">
                <a:shade val="95000"/>
                <a:satMod val="150000"/>
                <a:alpha val="30000"/>
              </a:schemeClr>
            </a:solidFill>
            <a:prstDash val="dash"/>
            <a:headEnd type="none"/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087FCFDC-33BF-4231-8900-2C67BBC49068}"/>
              </a:ext>
            </a:extLst>
          </p:cNvPr>
          <p:cNvGrpSpPr/>
          <p:nvPr/>
        </p:nvGrpSpPr>
        <p:grpSpPr>
          <a:xfrm>
            <a:off x="8864984" y="4919709"/>
            <a:ext cx="1380494" cy="926165"/>
            <a:chOff x="8864984" y="4919709"/>
            <a:chExt cx="1380494" cy="92616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EFB48F8-9B07-429D-859E-338B6AF0EC0F}"/>
                </a:ext>
              </a:extLst>
            </p:cNvPr>
            <p:cNvSpPr/>
            <p:nvPr/>
          </p:nvSpPr>
          <p:spPr>
            <a:xfrm>
              <a:off x="8864984" y="5539913"/>
              <a:ext cx="1380494" cy="305961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696461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SQL Server</a:t>
              </a: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769AA5C0-139D-4054-A44C-2F18CE9E016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82223" y="4919709"/>
              <a:ext cx="647367" cy="695026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E92895A3-5FC5-4AF1-958C-4FE72FBFC86D}"/>
              </a:ext>
            </a:extLst>
          </p:cNvPr>
          <p:cNvGrpSpPr/>
          <p:nvPr/>
        </p:nvGrpSpPr>
        <p:grpSpPr>
          <a:xfrm>
            <a:off x="1767929" y="4881489"/>
            <a:ext cx="2238009" cy="967746"/>
            <a:chOff x="2029191" y="5129863"/>
            <a:chExt cx="2238009" cy="967746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A052CE6-D39E-4BCC-85A6-FF22E391EE8E}"/>
                </a:ext>
              </a:extLst>
            </p:cNvPr>
            <p:cNvSpPr/>
            <p:nvPr/>
          </p:nvSpPr>
          <p:spPr>
            <a:xfrm>
              <a:off x="2029191" y="5791648"/>
              <a:ext cx="2238009" cy="305961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696461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On-Premise data sources</a:t>
              </a: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49EA178-56F8-4E28-814A-5BB0B5C694D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699959" y="5129863"/>
              <a:ext cx="817365" cy="679691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6161237-E0AD-4851-9FB8-54D719B81283}"/>
              </a:ext>
            </a:extLst>
          </p:cNvPr>
          <p:cNvGrpSpPr/>
          <p:nvPr/>
        </p:nvGrpSpPr>
        <p:grpSpPr>
          <a:xfrm>
            <a:off x="2047678" y="2079124"/>
            <a:ext cx="1615904" cy="1148879"/>
            <a:chOff x="2125548" y="1857159"/>
            <a:chExt cx="1615904" cy="1148879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E40BCA5-6171-49E9-8544-9FFE25AEFE7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512363" y="1857159"/>
              <a:ext cx="904883" cy="921042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9BE89D8-B0B7-4711-8FDE-0A9A7840803D}"/>
                </a:ext>
              </a:extLst>
            </p:cNvPr>
            <p:cNvSpPr/>
            <p:nvPr/>
          </p:nvSpPr>
          <p:spPr>
            <a:xfrm>
              <a:off x="2125548" y="2700077"/>
              <a:ext cx="1615904" cy="305961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696461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Cloud data sources</a:t>
              </a: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17B45166-CD6E-4FDF-A4A3-331B4A138319}"/>
              </a:ext>
            </a:extLst>
          </p:cNvPr>
          <p:cNvSpPr/>
          <p:nvPr/>
        </p:nvSpPr>
        <p:spPr>
          <a:xfrm>
            <a:off x="118378" y="3717848"/>
            <a:ext cx="769852" cy="27699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7104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loud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D36EC04-C6D9-401A-9D13-13BBD3DC92F5}"/>
              </a:ext>
            </a:extLst>
          </p:cNvPr>
          <p:cNvSpPr/>
          <p:nvPr/>
        </p:nvSpPr>
        <p:spPr>
          <a:xfrm>
            <a:off x="118378" y="3999514"/>
            <a:ext cx="1192231" cy="27699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7104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On-premise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6C95CD6-8914-49DA-94A0-085D0B2514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7393" y="5351849"/>
            <a:ext cx="1839111" cy="262886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48624B8D-975F-4D6D-98BB-E5D4A6189910}"/>
              </a:ext>
            </a:extLst>
          </p:cNvPr>
          <p:cNvGrpSpPr/>
          <p:nvPr/>
        </p:nvGrpSpPr>
        <p:grpSpPr>
          <a:xfrm>
            <a:off x="3796081" y="3268614"/>
            <a:ext cx="2077433" cy="2344870"/>
            <a:chOff x="3796081" y="3268614"/>
            <a:chExt cx="2077433" cy="234487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299BE50-96BB-4B3A-A568-7A59F9BBD119}"/>
                </a:ext>
              </a:extLst>
            </p:cNvPr>
            <p:cNvSpPr/>
            <p:nvPr/>
          </p:nvSpPr>
          <p:spPr>
            <a:xfrm>
              <a:off x="4178141" y="4318176"/>
              <a:ext cx="725996" cy="271554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696461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VNET</a:t>
              </a: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8CE0C34F-932C-469A-B8F6-F612AD499A92}"/>
                </a:ext>
              </a:extLst>
            </p:cNvPr>
            <p:cNvGrpSpPr/>
            <p:nvPr/>
          </p:nvGrpSpPr>
          <p:grpSpPr>
            <a:xfrm>
              <a:off x="3796081" y="3268614"/>
              <a:ext cx="2077433" cy="2344870"/>
              <a:chOff x="3796081" y="3268614"/>
              <a:chExt cx="2077433" cy="2344870"/>
            </a:xfrm>
          </p:grpSpPr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D9E48BF8-592C-418C-8000-F5E93AB193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201165" y="3703597"/>
                <a:ext cx="930843" cy="668922"/>
              </a:xfrm>
              <a:prstGeom prst="rect">
                <a:avLst/>
              </a:prstGeom>
            </p:spPr>
          </p:pic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54C6F9F9-DBE0-4860-869D-6A6A1DEA34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96081" y="4523617"/>
                <a:ext cx="828598" cy="1089867"/>
              </a:xfrm>
              <a:prstGeom prst="rect">
                <a:avLst/>
              </a:prstGeom>
            </p:spPr>
          </p:pic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2C18B4C1-E9E5-4505-A0FE-2D553D24E6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79452" y="3268614"/>
                <a:ext cx="994062" cy="1042711"/>
              </a:xfrm>
              <a:prstGeom prst="rect">
                <a:avLst/>
              </a:prstGeom>
            </p:spPr>
          </p:pic>
        </p:grp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1462EE93-1AFD-415C-A129-89B84B27836F}"/>
              </a:ext>
            </a:extLst>
          </p:cNvPr>
          <p:cNvSpPr txBox="1"/>
          <p:nvPr/>
        </p:nvSpPr>
        <p:spPr>
          <a:xfrm>
            <a:off x="5444360" y="5183777"/>
            <a:ext cx="1982204" cy="8771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>
                <a:solidFill>
                  <a:srgbClr val="0078D7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QL Server Integration Services (SSIS)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D844936-6E44-4C3F-A522-6434FA54ABFD}"/>
              </a:ext>
            </a:extLst>
          </p:cNvPr>
          <p:cNvGrpSpPr/>
          <p:nvPr/>
        </p:nvGrpSpPr>
        <p:grpSpPr>
          <a:xfrm>
            <a:off x="3777243" y="2250630"/>
            <a:ext cx="6747678" cy="2440660"/>
            <a:chOff x="3777243" y="2250630"/>
            <a:chExt cx="6747678" cy="2440660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04FF578B-96D5-4938-884E-D81CD02B4501}"/>
                </a:ext>
              </a:extLst>
            </p:cNvPr>
            <p:cNvGrpSpPr/>
            <p:nvPr/>
          </p:nvGrpSpPr>
          <p:grpSpPr>
            <a:xfrm>
              <a:off x="8352997" y="2258851"/>
              <a:ext cx="2171924" cy="969151"/>
              <a:chOff x="8352997" y="2258851"/>
              <a:chExt cx="2171924" cy="969151"/>
            </a:xfrm>
          </p:grpSpPr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462D118B-252D-4DB2-80B6-3DEC16A469E0}"/>
                  </a:ext>
                </a:extLst>
              </p:cNvPr>
              <p:cNvSpPr/>
              <p:nvPr/>
            </p:nvSpPr>
            <p:spPr>
              <a:xfrm>
                <a:off x="8352997" y="2922041"/>
                <a:ext cx="2171924" cy="305961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9642" tIns="44821" rIns="89642" bIns="44821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rPr>
                  <a:t>SQL DB Managed Instance</a:t>
                </a:r>
              </a:p>
            </p:txBody>
          </p:sp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E4F1F885-ECF8-41D5-B67F-FFDD697954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097742" y="2258851"/>
                <a:ext cx="731848" cy="721958"/>
              </a:xfrm>
              <a:prstGeom prst="rect">
                <a:avLst/>
              </a:prstGeom>
            </p:spPr>
          </p:pic>
        </p:grp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38B8A4EF-25FB-4E7C-83C0-D65579C0985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7243" y="2547754"/>
              <a:ext cx="1667115" cy="262886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861B39D3-41A7-4760-AAE5-53CC096FDBE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57393" y="2514365"/>
              <a:ext cx="1679964" cy="262886"/>
            </a:xfrm>
            <a:prstGeom prst="rect">
              <a:avLst/>
            </a:prstGeom>
          </p:spPr>
        </p:pic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A712D71A-3131-471C-A838-896F9B2F5C54}"/>
                </a:ext>
              </a:extLst>
            </p:cNvPr>
            <p:cNvGrpSpPr/>
            <p:nvPr/>
          </p:nvGrpSpPr>
          <p:grpSpPr>
            <a:xfrm>
              <a:off x="5286882" y="2250630"/>
              <a:ext cx="2222540" cy="983864"/>
              <a:chOff x="5102951" y="2250630"/>
              <a:chExt cx="2222540" cy="983864"/>
            </a:xfrm>
          </p:grpSpPr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7DAF879-D8CD-457A-8FD7-733AC97BC068}"/>
                  </a:ext>
                </a:extLst>
              </p:cNvPr>
              <p:cNvSpPr/>
              <p:nvPr/>
            </p:nvSpPr>
            <p:spPr>
              <a:xfrm>
                <a:off x="5102951" y="2926717"/>
                <a:ext cx="2222540" cy="30777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rPr>
                  <a:t>Azure Data Factory</a:t>
                </a:r>
              </a:p>
            </p:txBody>
          </p:sp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7EB30429-A9CC-4C6E-B80E-6B866563BC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816037" y="2250630"/>
                <a:ext cx="688925" cy="679615"/>
              </a:xfrm>
              <a:prstGeom prst="rect">
                <a:avLst/>
              </a:prstGeom>
            </p:spPr>
          </p:pic>
        </p:grp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3C13BA53-8ED4-4C3A-BAEF-F78D68C95D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99504" y="3502570"/>
              <a:ext cx="0" cy="1188720"/>
            </a:xfrm>
            <a:prstGeom prst="straightConnector1">
              <a:avLst/>
            </a:prstGeom>
            <a:ln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43325184-719F-489D-9758-17A2F38E69A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447200" y="3502570"/>
              <a:ext cx="0" cy="1188720"/>
            </a:xfrm>
            <a:prstGeom prst="straightConnector1">
              <a:avLst/>
            </a:prstGeom>
            <a:ln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156178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C5F8BA-DD9D-4376-8509-72FC89781E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1015663"/>
          </a:xfrm>
        </p:spPr>
        <p:txBody>
          <a:bodyPr/>
          <a:lstStyle/>
          <a:p>
            <a:r>
              <a:rPr lang="en-US" sz="6000"/>
              <a:t>ADF Overview</a:t>
            </a:r>
          </a:p>
        </p:txBody>
      </p:sp>
    </p:spTree>
    <p:extLst>
      <p:ext uri="{BB962C8B-B14F-4D97-AF65-F5344CB8AC3E}">
        <p14:creationId xmlns:p14="http://schemas.microsoft.com/office/powerpoint/2010/main" val="368166402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3979888-81B7-4B5F-B4B5-70ED2543E769}"/>
              </a:ext>
            </a:extLst>
          </p:cNvPr>
          <p:cNvSpPr/>
          <p:nvPr/>
        </p:nvSpPr>
        <p:spPr bwMode="auto">
          <a:xfrm>
            <a:off x="0" y="3010956"/>
            <a:ext cx="12192000" cy="387532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F386409-3525-4A1A-8A60-22C3A15446D2}"/>
              </a:ext>
            </a:extLst>
          </p:cNvPr>
          <p:cNvSpPr/>
          <p:nvPr/>
        </p:nvSpPr>
        <p:spPr>
          <a:xfrm>
            <a:off x="3765455" y="631015"/>
            <a:ext cx="4357282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4400" b="1" spc="-147">
                <a:ln w="3175">
                  <a:noFill/>
                </a:ln>
                <a:solidFill>
                  <a:srgbClr val="FFFFFF"/>
                </a:solidFill>
                <a:latin typeface="+mj-lt"/>
                <a:ea typeface="+mj-ea"/>
                <a:cs typeface="+mj-cs"/>
              </a:rPr>
              <a:t>Azure Data Factory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4157E4E-DB31-4304-97F9-4235A47F50D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4611" y="703752"/>
            <a:ext cx="1448447" cy="144195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999E0C9-4433-4A50-8A4E-7209A3B5C0D0}"/>
              </a:ext>
            </a:extLst>
          </p:cNvPr>
          <p:cNvSpPr txBox="1"/>
          <p:nvPr/>
        </p:nvSpPr>
        <p:spPr>
          <a:xfrm>
            <a:off x="3765455" y="1473193"/>
            <a:ext cx="539179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093"/>
            <a:r>
              <a:rPr lang="en-US" sz="2400" spc="-100">
                <a:ln w="3175">
                  <a:noFill/>
                </a:ln>
                <a:solidFill>
                  <a:srgbClr val="FFFFFF"/>
                </a:solidFill>
                <a:latin typeface="Segoe UI"/>
              </a:rPr>
              <a:t>A fully-managed data integration service </a:t>
            </a:r>
          </a:p>
          <a:p>
            <a:pPr defTabSz="914093"/>
            <a:r>
              <a:rPr lang="en-US" sz="2400" spc="-100">
                <a:ln w="3175">
                  <a:noFill/>
                </a:ln>
                <a:solidFill>
                  <a:srgbClr val="FFFFFF"/>
                </a:solidFill>
                <a:latin typeface="Segoe UI"/>
              </a:rPr>
              <a:t>for cloud-scale analytics in Azu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B970C6A-290F-4DC8-A566-07CEF14CA583}"/>
              </a:ext>
            </a:extLst>
          </p:cNvPr>
          <p:cNvSpPr/>
          <p:nvPr/>
        </p:nvSpPr>
        <p:spPr>
          <a:xfrm>
            <a:off x="4162831" y="4350464"/>
            <a:ext cx="1941719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913918"/>
            <a:r>
              <a:rPr lang="en-US" sz="1400" b="1" spc="300">
                <a:solidFill>
                  <a:srgbClr val="44546A">
                    <a:lumMod val="50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calable &amp; Cost-Effectiv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F1F6C7D-7539-41BF-B4D6-7A3C64CF49EC}"/>
              </a:ext>
            </a:extLst>
          </p:cNvPr>
          <p:cNvSpPr/>
          <p:nvPr/>
        </p:nvSpPr>
        <p:spPr>
          <a:xfrm>
            <a:off x="1379774" y="4350464"/>
            <a:ext cx="1941719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913918">
              <a:defRPr/>
            </a:pPr>
            <a:r>
              <a:rPr lang="en-US" sz="1400" b="1" spc="300">
                <a:solidFill>
                  <a:srgbClr val="44546A">
                    <a:lumMod val="50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nected &amp; Integrated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2E7519-6B05-4CC4-97DB-961EFC2CF276}"/>
              </a:ext>
            </a:extLst>
          </p:cNvPr>
          <p:cNvSpPr/>
          <p:nvPr/>
        </p:nvSpPr>
        <p:spPr>
          <a:xfrm>
            <a:off x="9378868" y="4458186"/>
            <a:ext cx="1941719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913918">
              <a:defRPr/>
            </a:pPr>
            <a:r>
              <a:rPr lang="en-US" sz="1400" b="1" spc="300">
                <a:solidFill>
                  <a:srgbClr val="44546A">
                    <a:lumMod val="50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uctiv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F116311-80A8-43A5-A363-EF155F37B0E7}"/>
              </a:ext>
            </a:extLst>
          </p:cNvPr>
          <p:cNvSpPr/>
          <p:nvPr/>
        </p:nvSpPr>
        <p:spPr>
          <a:xfrm>
            <a:off x="6702306" y="4350464"/>
            <a:ext cx="1941719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913918">
              <a:defRPr/>
            </a:pPr>
            <a:r>
              <a:rPr lang="en-US" sz="1400" b="1" spc="300">
                <a:solidFill>
                  <a:srgbClr val="44546A">
                    <a:lumMod val="50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ecure &amp; Complian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AF1ABF-B4F8-425A-93D4-D11F300E0ED0}"/>
              </a:ext>
            </a:extLst>
          </p:cNvPr>
          <p:cNvSpPr/>
          <p:nvPr/>
        </p:nvSpPr>
        <p:spPr>
          <a:xfrm>
            <a:off x="1421339" y="5140093"/>
            <a:ext cx="1970672" cy="11757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Rich connectivity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Flexible orchestration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Full integration with Azure Data servic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1CF7133-F172-4661-AEEE-8805F3F81D3F}"/>
              </a:ext>
            </a:extLst>
          </p:cNvPr>
          <p:cNvSpPr/>
          <p:nvPr/>
        </p:nvSpPr>
        <p:spPr>
          <a:xfrm>
            <a:off x="9654003" y="5140093"/>
            <a:ext cx="1970672" cy="15450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Drag &amp; drop UI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Single-pane-of-glass monitoring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CICD model</a:t>
            </a:r>
          </a:p>
          <a:p>
            <a:pPr marL="279983" indent="-279983" defTabSz="913742">
              <a:buFont typeface="Wingdings" panose="05000000000000000000" pitchFamily="2" charset="2"/>
              <a:buChar char="ü"/>
              <a:defRPr/>
            </a:pPr>
            <a:endParaRPr lang="en-US" sz="1400">
              <a:solidFill>
                <a:srgbClr val="0078D7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CA1E9BB-3F5E-4564-9BD8-1933156F7C00}"/>
              </a:ext>
            </a:extLst>
          </p:cNvPr>
          <p:cNvSpPr/>
          <p:nvPr/>
        </p:nvSpPr>
        <p:spPr>
          <a:xfrm>
            <a:off x="4282608" y="5140093"/>
            <a:ext cx="1969258" cy="827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Serverless scalability without infra mgmt.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Pay for us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57DF84E-BA03-496C-8F32-6B15421F7E7F}"/>
              </a:ext>
            </a:extLst>
          </p:cNvPr>
          <p:cNvSpPr/>
          <p:nvPr/>
        </p:nvSpPr>
        <p:spPr>
          <a:xfrm>
            <a:off x="6859285" y="5140093"/>
            <a:ext cx="2087287" cy="9702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 dirty="0">
                <a:solidFill>
                  <a:schemeClr val="accent1"/>
                </a:solidFill>
                <a:latin typeface="Segoe UI"/>
              </a:rPr>
              <a:t>Certified compliance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 dirty="0">
                <a:solidFill>
                  <a:schemeClr val="accent1"/>
                </a:solidFill>
                <a:latin typeface="Segoe UI"/>
              </a:rPr>
              <a:t>Enterprise grade security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 dirty="0">
                <a:solidFill>
                  <a:schemeClr val="accent1"/>
                </a:solidFill>
                <a:latin typeface="Segoe UI"/>
              </a:rPr>
              <a:t>MSI and AKV support</a:t>
            </a:r>
          </a:p>
        </p:txBody>
      </p:sp>
      <p:pic>
        <p:nvPicPr>
          <p:cNvPr id="19" name="Graphic 18" descr="Network">
            <a:extLst>
              <a:ext uri="{FF2B5EF4-FFF2-40B4-BE49-F238E27FC236}">
                <a16:creationId xmlns:a16="http://schemas.microsoft.com/office/drawing/2014/main" id="{B7024731-9B99-423C-ADB1-98AE4452123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93433" y="3320504"/>
            <a:ext cx="914400" cy="914400"/>
          </a:xfrm>
          <a:prstGeom prst="rect">
            <a:avLst/>
          </a:prstGeom>
        </p:spPr>
      </p:pic>
      <p:pic>
        <p:nvPicPr>
          <p:cNvPr id="21" name="Graphic 20" descr="Upward trend">
            <a:extLst>
              <a:ext uri="{FF2B5EF4-FFF2-40B4-BE49-F238E27FC236}">
                <a16:creationId xmlns:a16="http://schemas.microsoft.com/office/drawing/2014/main" id="{3D2A56B4-AD9C-4AD5-A492-578A473DB1B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76490" y="3320504"/>
            <a:ext cx="914400" cy="914400"/>
          </a:xfrm>
          <a:prstGeom prst="rect">
            <a:avLst/>
          </a:prstGeom>
        </p:spPr>
      </p:pic>
      <p:pic>
        <p:nvPicPr>
          <p:cNvPr id="25" name="Graphic 24" descr="Lock">
            <a:extLst>
              <a:ext uri="{FF2B5EF4-FFF2-40B4-BE49-F238E27FC236}">
                <a16:creationId xmlns:a16="http://schemas.microsoft.com/office/drawing/2014/main" id="{F133A09A-CDB5-48E6-B946-9176594272C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206767" y="3320504"/>
            <a:ext cx="914400" cy="914400"/>
          </a:xfrm>
          <a:prstGeom prst="rect">
            <a:avLst/>
          </a:prstGeom>
        </p:spPr>
      </p:pic>
      <p:pic>
        <p:nvPicPr>
          <p:cNvPr id="27" name="Graphic 26" descr="Stopwatch">
            <a:extLst>
              <a:ext uri="{FF2B5EF4-FFF2-40B4-BE49-F238E27FC236}">
                <a16:creationId xmlns:a16="http://schemas.microsoft.com/office/drawing/2014/main" id="{E2363892-779D-4074-90B0-4E9A77A5C4B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885503" y="332050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21404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50113_Microsoft_Ready_Light_Template">
  <a:themeElements>
    <a:clrScheme name="Microsoft Ready Light">
      <a:dk1>
        <a:srgbClr val="353535"/>
      </a:dk1>
      <a:lt1>
        <a:srgbClr val="FFFFFF"/>
      </a:lt1>
      <a:dk2>
        <a:srgbClr val="002050"/>
      </a:dk2>
      <a:lt2>
        <a:srgbClr val="E6E6E6"/>
      </a:lt2>
      <a:accent1>
        <a:srgbClr val="002050"/>
      </a:accent1>
      <a:accent2>
        <a:srgbClr val="00188F"/>
      </a:accent2>
      <a:accent3>
        <a:srgbClr val="0078D7"/>
      </a:accent3>
      <a:accent4>
        <a:srgbClr val="00BCF2"/>
      </a:accent4>
      <a:accent5>
        <a:srgbClr val="00B294"/>
      </a:accent5>
      <a:accent6>
        <a:srgbClr val="BAD80A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Ready_Template_16x9.potx" id="{73CD10E5-6BB9-40C7-89C8-F0CB96ABC0CF}" vid="{54E896AB-26A2-40C9-9B4F-5BD4E8E2E72B}"/>
    </a:ext>
  </a:extLst>
</a:theme>
</file>

<file path=ppt/theme/theme10.xml><?xml version="1.0" encoding="utf-8"?>
<a:theme xmlns:a="http://schemas.openxmlformats.org/drawingml/2006/main" name="6_5-50173_Microsoft_Ready_Light_Template">
  <a:themeElements>
    <a:clrScheme name="Custom 3">
      <a:dk1>
        <a:srgbClr val="353535"/>
      </a:dk1>
      <a:lt1>
        <a:srgbClr val="FFFFFF"/>
      </a:lt1>
      <a:dk2>
        <a:srgbClr val="002050"/>
      </a:dk2>
      <a:lt2>
        <a:srgbClr val="E6E6E6"/>
      </a:lt2>
      <a:accent1>
        <a:srgbClr val="002050"/>
      </a:accent1>
      <a:accent2>
        <a:srgbClr val="00188F"/>
      </a:accent2>
      <a:accent3>
        <a:srgbClr val="0078D7"/>
      </a:accent3>
      <a:accent4>
        <a:srgbClr val="00BCF2"/>
      </a:accent4>
      <a:accent5>
        <a:srgbClr val="00B294"/>
      </a:accent5>
      <a:accent6>
        <a:srgbClr val="BAD80A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810D1621-7EC8-4B51-A678-36097813A578}" vid="{BABC4CDB-E230-49BE-A9F6-33781B02F17C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1_5-50109_Microsoft_Light_Template">
  <a:themeElements>
    <a:clrScheme name="Microsoft_2017_Light">
      <a:dk1>
        <a:srgbClr val="353535"/>
      </a:dk1>
      <a:lt1>
        <a:srgbClr val="FFFFFF"/>
      </a:lt1>
      <a:dk2>
        <a:srgbClr val="D83B01"/>
      </a:dk2>
      <a:lt2>
        <a:srgbClr val="E6E6E6"/>
      </a:lt2>
      <a:accent1>
        <a:srgbClr val="D83B01"/>
      </a:accent1>
      <a:accent2>
        <a:srgbClr val="FF8C00"/>
      </a:accent2>
      <a:accent3>
        <a:srgbClr val="FFB900"/>
      </a:accent3>
      <a:accent4>
        <a:srgbClr val="0078D7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7_16x9_Template.potx" id="{2A99AE01-A11F-4F2C-9BCC-4E42F4CE769C}" vid="{42DFBAD3-C25F-4FC8-963A-1F73730D7E5C}"/>
    </a:ext>
  </a:extLst>
</a:theme>
</file>

<file path=ppt/theme/theme13.xml><?xml version="1.0" encoding="utf-8"?>
<a:theme xmlns:a="http://schemas.openxmlformats.org/drawingml/2006/main" name="1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E3F4DD5B-E91A-4E2E-A066-DD68F9821E36}"/>
    </a:ext>
  </a:extLst>
</a:theme>
</file>

<file path=ppt/theme/theme14.xml><?xml version="1.0" encoding="utf-8"?>
<a:theme xmlns:a="http://schemas.openxmlformats.org/drawingml/2006/main" name="1_MGXFY15">
  <a:themeElements>
    <a:clrScheme name="Custom 55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643BCD"/>
      </a:accent3>
      <a:accent4>
        <a:srgbClr val="ABABAB"/>
      </a:accent4>
      <a:accent5>
        <a:srgbClr val="505050"/>
      </a:accent5>
      <a:accent6>
        <a:srgbClr val="FFB900"/>
      </a:accent6>
      <a:hlink>
        <a:srgbClr val="0078D7"/>
      </a:hlink>
      <a:folHlink>
        <a:srgbClr val="0078D7"/>
      </a:folHlink>
    </a:clrScheme>
    <a:fontScheme name="Segoe UI L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ES243BK-R1_Edson" id="{7FA50A56-66DF-4957-B093-DDBFDD24F612}" vid="{2F29F2AE-BCF6-4017-BA1B-18B93B53653C}"/>
    </a:ext>
  </a:extLst>
</a:theme>
</file>

<file path=ppt/theme/theme15.xml><?xml version="1.0" encoding="utf-8"?>
<a:theme xmlns:a="http://schemas.openxmlformats.org/drawingml/2006/main" name="Azure PPT Template - 2018">
  <a:themeElements>
    <a:clrScheme name="Azure DevOps">
      <a:dk1>
        <a:srgbClr val="000000"/>
      </a:dk1>
      <a:lt1>
        <a:srgbClr val="FFFFFF"/>
      </a:lt1>
      <a:dk2>
        <a:srgbClr val="0078D7"/>
      </a:dk2>
      <a:lt2>
        <a:srgbClr val="FFFFFF"/>
      </a:lt2>
      <a:accent1>
        <a:srgbClr val="0078D7"/>
      </a:accent1>
      <a:accent2>
        <a:srgbClr val="4DB0FF"/>
      </a:accent2>
      <a:accent3>
        <a:srgbClr val="B1D6F2"/>
      </a:accent3>
      <a:accent4>
        <a:srgbClr val="035AA0"/>
      </a:accent4>
      <a:accent5>
        <a:srgbClr val="94D0FF"/>
      </a:accent5>
      <a:accent6>
        <a:srgbClr val="797979"/>
      </a:accent6>
      <a:hlink>
        <a:srgbClr val="0078D7"/>
      </a:hlink>
      <a:folHlink>
        <a:srgbClr val="0078D7"/>
      </a:folHlink>
    </a:clrScheme>
    <a:fontScheme name="Custom 25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PT Template 2018 presentation_v3" id="{1968021E-D85B-4A85-BB07-6BF24CCBC27F}" vid="{6E53F19A-D2E9-48F2-9B61-183D930FD7CB}"/>
    </a:ext>
  </a:extLst>
</a:theme>
</file>

<file path=ppt/theme/theme16.xml><?xml version="1.0" encoding="utf-8"?>
<a:theme xmlns:a="http://schemas.openxmlformats.org/drawingml/2006/main" name="5-50201_Microsoft_Ready_Template">
  <a:themeElements>
    <a:clrScheme name="Microsoft Ready + Microsoft Inspir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737373"/>
      </a:accent3>
      <a:accent4>
        <a:srgbClr val="5C2D91"/>
      </a:accent4>
      <a:accent5>
        <a:srgbClr val="BAD80A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ata Engineering with Azure Databricks and Azure SQL DW to create your Modern Data Warehouse.potx" id="{E038BBD7-DA87-4434-B163-F79C17D36ADF}" vid="{9FDDA1E9-4A00-4E2B-ADE5-26B570CDF824}"/>
    </a:ext>
  </a:extLst>
</a:theme>
</file>

<file path=ppt/theme/theme17.xml><?xml version="1.0" encoding="utf-8"?>
<a:theme xmlns:a="http://schemas.openxmlformats.org/drawingml/2006/main" name="2_5-50109_Microsoft_Light_Template">
  <a:themeElements>
    <a:clrScheme name="Microsoft_2017_Light">
      <a:dk1>
        <a:srgbClr val="353535"/>
      </a:dk1>
      <a:lt1>
        <a:srgbClr val="FFFFFF"/>
      </a:lt1>
      <a:dk2>
        <a:srgbClr val="D83B01"/>
      </a:dk2>
      <a:lt2>
        <a:srgbClr val="E6E6E6"/>
      </a:lt2>
      <a:accent1>
        <a:srgbClr val="D83B01"/>
      </a:accent1>
      <a:accent2>
        <a:srgbClr val="FF8C00"/>
      </a:accent2>
      <a:accent3>
        <a:srgbClr val="FFB900"/>
      </a:accent3>
      <a:accent4>
        <a:srgbClr val="0078D7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ata Engineering with Azure Databricks and Azure SQL DW to create your Modern Data Warehouse.potx" id="{E038BBD7-DA87-4434-B163-F79C17D36ADF}" vid="{0D197597-5802-4F59-9FB3-EEA4CE0331CD}"/>
    </a:ext>
  </a:extLst>
</a:theme>
</file>

<file path=ppt/theme/theme18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dern DW">
  <a:themeElements>
    <a:clrScheme name="Custom 21">
      <a:dk1>
        <a:srgbClr val="505050"/>
      </a:dk1>
      <a:lt1>
        <a:srgbClr val="FFFFFF"/>
      </a:lt1>
      <a:dk2>
        <a:srgbClr val="002050"/>
      </a:dk2>
      <a:lt2>
        <a:srgbClr val="70C7FF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70C7FF"/>
      </a:hlink>
      <a:folHlink>
        <a:srgbClr val="0078D7"/>
      </a:folHlink>
    </a:clrScheme>
    <a:fontScheme name="Segoe 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-50109_Microsoft_Light_Template">
  <a:themeElements>
    <a:clrScheme name="Microsoft_2017_Light">
      <a:dk1>
        <a:srgbClr val="353535"/>
      </a:dk1>
      <a:lt1>
        <a:srgbClr val="FFFFFF"/>
      </a:lt1>
      <a:dk2>
        <a:srgbClr val="D83B01"/>
      </a:dk2>
      <a:lt2>
        <a:srgbClr val="E6E6E6"/>
      </a:lt2>
      <a:accent1>
        <a:srgbClr val="D83B01"/>
      </a:accent1>
      <a:accent2>
        <a:srgbClr val="FF8C00"/>
      </a:accent2>
      <a:accent3>
        <a:srgbClr val="FFB900"/>
      </a:accent3>
      <a:accent4>
        <a:srgbClr val="0078D7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7_16x9_Template.potx" id="{2A99AE01-A11F-4F2C-9BCC-4E42F4CE769C}" vid="{42DFBAD3-C25F-4FC8-963A-1F73730D7E5C}"/>
    </a:ext>
  </a:extLst>
</a:theme>
</file>

<file path=ppt/theme/theme4.xml><?xml version="1.0" encoding="utf-8"?>
<a:theme xmlns:a="http://schemas.openxmlformats.org/drawingml/2006/main" name="MGXFY15">
  <a:themeElements>
    <a:clrScheme name="Custom 55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643BCD"/>
      </a:accent3>
      <a:accent4>
        <a:srgbClr val="ABABAB"/>
      </a:accent4>
      <a:accent5>
        <a:srgbClr val="505050"/>
      </a:accent5>
      <a:accent6>
        <a:srgbClr val="FFB900"/>
      </a:accent6>
      <a:hlink>
        <a:srgbClr val="0078D7"/>
      </a:hlink>
      <a:folHlink>
        <a:srgbClr val="0078D7"/>
      </a:folHlink>
    </a:clrScheme>
    <a:fontScheme name="Segoe UI L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ES243BK-R1_Edson" id="{7FA50A56-66DF-4957-B093-DDBFDD24F612}" vid="{2F29F2AE-BCF6-4017-BA1B-18B93B53653C}"/>
    </a:ext>
  </a:extLst>
</a:theme>
</file>

<file path=ppt/theme/theme5.xml><?xml version="1.0" encoding="utf-8"?>
<a:theme xmlns:a="http://schemas.openxmlformats.org/drawingml/2006/main" name="Microsoft Analytics &amp; Business Intelligence Partner Airlift">
  <a:themeElements>
    <a:clrScheme name="AA Airlift 2016">
      <a:dk1>
        <a:srgbClr val="505050"/>
      </a:dk1>
      <a:lt1>
        <a:srgbClr val="FFFFFF"/>
      </a:lt1>
      <a:dk2>
        <a:srgbClr val="0072C6"/>
      </a:dk2>
      <a:lt2>
        <a:srgbClr val="69C8CA"/>
      </a:lt2>
      <a:accent1>
        <a:srgbClr val="002050"/>
      </a:accent1>
      <a:accent2>
        <a:srgbClr val="B4009E"/>
      </a:accent2>
      <a:accent3>
        <a:srgbClr val="0072C6"/>
      </a:accent3>
      <a:accent4>
        <a:srgbClr val="008272"/>
      </a:accent4>
      <a:accent5>
        <a:srgbClr val="4668C5"/>
      </a:accent5>
      <a:accent6>
        <a:srgbClr val="68217A"/>
      </a:accent6>
      <a:hlink>
        <a:srgbClr val="0072C6"/>
      </a:hlink>
      <a:folHlink>
        <a:srgbClr val="0072C6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 Analytics &amp; Business Intelligence Partner Airlift" id="{82F75C06-84D9-45DE-9414-AEC4320F6D88}" vid="{2FD723AC-42B4-484E-8C5D-EDFB37631561}"/>
    </a:ext>
  </a:extLst>
</a:theme>
</file>

<file path=ppt/theme/theme6.xml><?xml version="1.0" encoding="utf-8"?>
<a:theme xmlns:a="http://schemas.openxmlformats.org/drawingml/2006/main" name="1_5-50113_Microsoft_Ready_Light_Template">
  <a:themeElements>
    <a:clrScheme name="Microsoft Ready Light">
      <a:dk1>
        <a:srgbClr val="353535"/>
      </a:dk1>
      <a:lt1>
        <a:srgbClr val="FFFFFF"/>
      </a:lt1>
      <a:dk2>
        <a:srgbClr val="002050"/>
      </a:dk2>
      <a:lt2>
        <a:srgbClr val="E6E6E6"/>
      </a:lt2>
      <a:accent1>
        <a:srgbClr val="002050"/>
      </a:accent1>
      <a:accent2>
        <a:srgbClr val="00188F"/>
      </a:accent2>
      <a:accent3>
        <a:srgbClr val="0078D7"/>
      </a:accent3>
      <a:accent4>
        <a:srgbClr val="00BCF2"/>
      </a:accent4>
      <a:accent5>
        <a:srgbClr val="00B294"/>
      </a:accent5>
      <a:accent6>
        <a:srgbClr val="BAD80A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Ready_Template_16x9.potx" id="{73CD10E5-6BB9-40C7-89C8-F0CB96ABC0CF}" vid="{54E896AB-26A2-40C9-9B4F-5BD4E8E2E72B}"/>
    </a:ext>
  </a:extLst>
</a:theme>
</file>

<file path=ppt/theme/theme7.xml><?xml version="1.0" encoding="utf-8"?>
<a:theme xmlns:a="http://schemas.openxmlformats.org/drawingml/2006/main" name="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E3F4DD5B-E91A-4E2E-A066-DD68F9821E36}"/>
    </a:ext>
  </a:extLst>
</a:theme>
</file>

<file path=ppt/theme/theme8.xml><?xml version="1.0" encoding="utf-8"?>
<a:theme xmlns:a="http://schemas.openxmlformats.org/drawingml/2006/main" name="2_5-50113_Microsoft_Ready_Light_Template">
  <a:themeElements>
    <a:clrScheme name="Microsoft Ready Light">
      <a:dk1>
        <a:srgbClr val="353535"/>
      </a:dk1>
      <a:lt1>
        <a:srgbClr val="FFFFFF"/>
      </a:lt1>
      <a:dk2>
        <a:srgbClr val="002050"/>
      </a:dk2>
      <a:lt2>
        <a:srgbClr val="E6E6E6"/>
      </a:lt2>
      <a:accent1>
        <a:srgbClr val="002050"/>
      </a:accent1>
      <a:accent2>
        <a:srgbClr val="00188F"/>
      </a:accent2>
      <a:accent3>
        <a:srgbClr val="0078D7"/>
      </a:accent3>
      <a:accent4>
        <a:srgbClr val="00BCF2"/>
      </a:accent4>
      <a:accent5>
        <a:srgbClr val="00B294"/>
      </a:accent5>
      <a:accent6>
        <a:srgbClr val="BAD80A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Ready_Template_16x9.potx" id="{73CD10E5-6BB9-40C7-89C8-F0CB96ABC0CF}" vid="{54E896AB-26A2-40C9-9B4F-5BD4E8E2E72B}"/>
    </a:ext>
  </a:extLst>
</a:theme>
</file>

<file path=ppt/theme/theme9.xml><?xml version="1.0" encoding="utf-8"?>
<a:theme xmlns:a="http://schemas.openxmlformats.org/drawingml/2006/main" name="5-50195_Microsoft_Build_Template">
  <a:themeElements>
    <a:clrScheme name="Microsoft Build 2018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505050"/>
      </a:accent1>
      <a:accent2>
        <a:srgbClr val="D2D2D2"/>
      </a:accent2>
      <a:accent3>
        <a:srgbClr val="E3008C"/>
      </a:accent3>
      <a:accent4>
        <a:srgbClr val="32145A"/>
      </a:accent4>
      <a:accent5>
        <a:srgbClr val="2139B5"/>
      </a:accent5>
      <a:accent6>
        <a:srgbClr val="E6E6E6"/>
      </a:accent6>
      <a:hlink>
        <a:srgbClr val="2139B5"/>
      </a:hlink>
      <a:folHlink>
        <a:srgbClr val="2139B5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Build_2018_16x9_Breakout_Template.potx" id="{1A72F1D6-8E00-44B7-8612-A96C51648790}" vid="{FC63816D-7A82-403A-9DF6-29F1914C4360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MediaServiceKeyPoints xmlns="c72baf73-1e2f-4845-a8f1-f9ebc7c339c2" xsi:nil="true"/>
    <_ip_UnifiedCompliancePolicyProperties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AF1845C9BD6AA4E98B3FD76F89FFB49" ma:contentTypeVersion="12" ma:contentTypeDescription="Create a new document." ma:contentTypeScope="" ma:versionID="de72735fdd972e3d1b14df5afc3e88a8">
  <xsd:schema xmlns:xsd="http://www.w3.org/2001/XMLSchema" xmlns:xs="http://www.w3.org/2001/XMLSchema" xmlns:p="http://schemas.microsoft.com/office/2006/metadata/properties" xmlns:ns1="http://schemas.microsoft.com/sharepoint/v3" xmlns:ns2="c72baf73-1e2f-4845-a8f1-f9ebc7c339c2" xmlns:ns3="7b7be56a-1c9f-4992-8379-7082ff57f887" targetNamespace="http://schemas.microsoft.com/office/2006/metadata/properties" ma:root="true" ma:fieldsID="4fdeade304d41ca2b65708be3e3c5ef2" ns1:_="" ns2:_="" ns3:_="">
    <xsd:import namespace="http://schemas.microsoft.com/sharepoint/v3"/>
    <xsd:import namespace="c72baf73-1e2f-4845-a8f1-f9ebc7c339c2"/>
    <xsd:import namespace="7b7be56a-1c9f-4992-8379-7082ff57f88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1:_ip_UnifiedCompliancePolicyProperties" minOccurs="0"/>
                <xsd:element ref="ns1:_ip_UnifiedCompliancePolicyUIAction" minOccurs="0"/>
                <xsd:element ref="ns2:MediaServiceEventHashCode" minOccurs="0"/>
                <xsd:element ref="ns2:MediaServiceGenerationTim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4" nillable="true" ma:displayName="Unified Compliance Policy Properties" ma:description="" ma:hidden="true" ma:internalName="_ip_UnifiedCompliancePolicyProperties">
      <xsd:simpleType>
        <xsd:restriction base="dms:Note"/>
      </xsd:simpleType>
    </xsd:element>
    <xsd:element name="_ip_UnifiedCompliancePolicyUIAction" ma:index="15" nillable="true" ma:displayName="Unified Compliance Policy UI Action" ma:description="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2baf73-1e2f-4845-a8f1-f9ebc7c339c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7be56a-1c9f-4992-8379-7082ff57f88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2" nillable="true" ma:displayName="Last Shared By User" ma:description="" ma:hidden="true" ma:internalName="LastSharedByUser" ma:readOnly="true">
      <xsd:simpleType>
        <xsd:restriction base="dms:Note"/>
      </xsd:simpleType>
    </xsd:element>
    <xsd:element name="LastSharedByTime" ma:index="13" nillable="true" ma:displayName="Last Shared By Time" ma:description="" ma:hidden="true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DAAA666-8188-4C8C-8515-70D7ED4AE8C5}">
  <ds:schemaRefs>
    <ds:schemaRef ds:uri="http://www.w3.org/XML/1998/namespace"/>
    <ds:schemaRef ds:uri="c72baf73-1e2f-4845-a8f1-f9ebc7c339c2"/>
    <ds:schemaRef ds:uri="http://schemas.microsoft.com/sharepoint/v3"/>
    <ds:schemaRef ds:uri="http://purl.org/dc/elements/1.1/"/>
    <ds:schemaRef ds:uri="7b7be56a-1c9f-4992-8379-7082ff57f887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02B5DD6-AF4C-4DD2-A422-E4EEE5EB64B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c72baf73-1e2f-4845-a8f1-f9ebc7c339c2"/>
    <ds:schemaRef ds:uri="7b7be56a-1c9f-4992-8379-7082ff57f88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2919DAB-C41F-4B36-BEA7-6F9F519B85E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28</TotalTime>
  <Words>2127</Words>
  <Application>Microsoft Office PowerPoint</Application>
  <PresentationFormat>Widescreen</PresentationFormat>
  <Paragraphs>500</Paragraphs>
  <Slides>30</Slides>
  <Notes>25</Notes>
  <HiddenSlides>3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1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64" baseType="lpstr">
      <vt:lpstr>Arial</vt:lpstr>
      <vt:lpstr>Avenir LT Pro 45 Book</vt:lpstr>
      <vt:lpstr>Calibri</vt:lpstr>
      <vt:lpstr>Calibri Light</vt:lpstr>
      <vt:lpstr>Consolas</vt:lpstr>
      <vt:lpstr>Courier New</vt:lpstr>
      <vt:lpstr>Quattrocento Sans</vt:lpstr>
      <vt:lpstr>Segoe Pro Semibold</vt:lpstr>
      <vt:lpstr>Segoe UI</vt:lpstr>
      <vt:lpstr>Segoe UI Light</vt:lpstr>
      <vt:lpstr>Segoe UI Light (Headings)</vt:lpstr>
      <vt:lpstr>Segoe UI Semibold</vt:lpstr>
      <vt:lpstr>Segoe UI Semilight</vt:lpstr>
      <vt:lpstr>Times New Roman</vt:lpstr>
      <vt:lpstr>Wingdings</vt:lpstr>
      <vt:lpstr>5-50113_Microsoft_Ready_Light_Template</vt:lpstr>
      <vt:lpstr>Modern DW</vt:lpstr>
      <vt:lpstr>5-50109_Microsoft_Light_Template</vt:lpstr>
      <vt:lpstr>MGXFY15</vt:lpstr>
      <vt:lpstr>Microsoft Analytics &amp; Business Intelligence Partner Airlift</vt:lpstr>
      <vt:lpstr>1_5-50113_Microsoft_Ready_Light_Template</vt:lpstr>
      <vt:lpstr>5-30629_Build_Template_WHITE</vt:lpstr>
      <vt:lpstr>2_5-50113_Microsoft_Ready_Light_Template</vt:lpstr>
      <vt:lpstr>5-50195_Microsoft_Build_Template</vt:lpstr>
      <vt:lpstr>6_5-50173_Microsoft_Ready_Light_Template</vt:lpstr>
      <vt:lpstr>Office Theme</vt:lpstr>
      <vt:lpstr>1_5-50109_Microsoft_Light_Template</vt:lpstr>
      <vt:lpstr>1_5-30629_Build_Template_WHITE</vt:lpstr>
      <vt:lpstr>1_MGXFY15</vt:lpstr>
      <vt:lpstr>Azure PPT Template - 2018</vt:lpstr>
      <vt:lpstr>5-50201_Microsoft_Ready_Template</vt:lpstr>
      <vt:lpstr>2_5-50109_Microsoft_Light_Template</vt:lpstr>
      <vt:lpstr>1_Office Theme</vt:lpstr>
      <vt:lpstr>think-cell Slide</vt:lpstr>
      <vt:lpstr>PowerPoint Presentation</vt:lpstr>
      <vt:lpstr>Ingesting Data into Azure using Azure Data Factory</vt:lpstr>
      <vt:lpstr>Tell us what you think!</vt:lpstr>
      <vt:lpstr>Agenda</vt:lpstr>
      <vt:lpstr>PowerPoint Presentation</vt:lpstr>
      <vt:lpstr>PowerPoint Presentation</vt:lpstr>
      <vt:lpstr>Lift Existing SSIS + SQL Projects to Cloud</vt:lpstr>
      <vt:lpstr>ADF Overview</vt:lpstr>
      <vt:lpstr>PowerPoint Presentation</vt:lpstr>
      <vt:lpstr>PowerPoint Presentation</vt:lpstr>
      <vt:lpstr>ADF Key Concepts</vt:lpstr>
      <vt:lpstr>PowerPoint Presentation</vt:lpstr>
      <vt:lpstr>PowerPoint Presentation</vt:lpstr>
      <vt:lpstr>Control Flow</vt:lpstr>
      <vt:lpstr>Loading Data using ADF</vt:lpstr>
      <vt:lpstr>Cloud-to-cloud Copy</vt:lpstr>
      <vt:lpstr>Hybrid Copy</vt:lpstr>
      <vt:lpstr>Advanced Performance Optimization</vt:lpstr>
      <vt:lpstr>Security</vt:lpstr>
      <vt:lpstr>PowerPoint Presentation</vt:lpstr>
      <vt:lpstr>PowerPoint Presentation</vt:lpstr>
      <vt:lpstr>Ingestion Patterns</vt:lpstr>
      <vt:lpstr>Authoring and CICD</vt:lpstr>
      <vt:lpstr>PowerPoint Presentation</vt:lpstr>
      <vt:lpstr>Data Ingestion using ADF</vt:lpstr>
      <vt:lpstr>PowerPoint Presentation</vt:lpstr>
      <vt:lpstr>Putting the “T” in “ETL”  ADF - Data Flows</vt:lpstr>
      <vt:lpstr>No-code Data Transformation At Scale</vt:lpstr>
      <vt:lpstr>Code-free Data Transformation At Scal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irley Wang (SQL)</dc:creator>
  <cp:lastModifiedBy>Jan Remko Yntema</cp:lastModifiedBy>
  <cp:revision>6</cp:revision>
  <dcterms:created xsi:type="dcterms:W3CDTF">2017-12-08T05:38:57Z</dcterms:created>
  <dcterms:modified xsi:type="dcterms:W3CDTF">2019-09-25T19:26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shwang@microsoft.com</vt:lpwstr>
  </property>
  <property fmtid="{D5CDD505-2E9C-101B-9397-08002B2CF9AE}" pid="5" name="MSIP_Label_f42aa342-8706-4288-bd11-ebb85995028c_SetDate">
    <vt:lpwstr>2017-12-08T05:39:38.5877114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Extended_MSFT_Method">
    <vt:lpwstr>Automatic</vt:lpwstr>
  </property>
  <property fmtid="{D5CDD505-2E9C-101B-9397-08002B2CF9AE}" pid="9" name="Sensitivity">
    <vt:lpwstr>General</vt:lpwstr>
  </property>
  <property fmtid="{D5CDD505-2E9C-101B-9397-08002B2CF9AE}" pid="10" name="ContentTypeId">
    <vt:lpwstr>0x0101006AF1845C9BD6AA4E98B3FD76F89FFB49</vt:lpwstr>
  </property>
  <property fmtid="{D5CDD505-2E9C-101B-9397-08002B2CF9AE}" pid="11" name="Order">
    <vt:r8>4800</vt:r8>
  </property>
  <property fmtid="{D5CDD505-2E9C-101B-9397-08002B2CF9AE}" pid="12" name="xd_Signature">
    <vt:bool>false</vt:bool>
  </property>
  <property fmtid="{D5CDD505-2E9C-101B-9397-08002B2CF9AE}" pid="13" name="xd_ProgID">
    <vt:lpwstr/>
  </property>
  <property fmtid="{D5CDD505-2E9C-101B-9397-08002B2CF9AE}" pid="14" name="ComplianceAssetId">
    <vt:lpwstr/>
  </property>
  <property fmtid="{D5CDD505-2E9C-101B-9397-08002B2CF9AE}" pid="15" name="TemplateUrl">
    <vt:lpwstr/>
  </property>
</Properties>
</file>